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4"/>
  </p:sldMasterIdLst>
  <p:notesMasterIdLst>
    <p:notesMasterId r:id="rId36"/>
  </p:notesMasterIdLst>
  <p:handoutMasterIdLst>
    <p:handoutMasterId r:id="rId37"/>
  </p:handoutMasterIdLst>
  <p:sldIdLst>
    <p:sldId id="295" r:id="rId5"/>
    <p:sldId id="285" r:id="rId6"/>
    <p:sldId id="256" r:id="rId7"/>
    <p:sldId id="289" r:id="rId8"/>
    <p:sldId id="290" r:id="rId9"/>
    <p:sldId id="294" r:id="rId10"/>
    <p:sldId id="300" r:id="rId11"/>
    <p:sldId id="293" r:id="rId12"/>
    <p:sldId id="257" r:id="rId13"/>
    <p:sldId id="258" r:id="rId14"/>
    <p:sldId id="259" r:id="rId15"/>
    <p:sldId id="299" r:id="rId16"/>
    <p:sldId id="301" r:id="rId17"/>
    <p:sldId id="262" r:id="rId18"/>
    <p:sldId id="263" r:id="rId19"/>
    <p:sldId id="284" r:id="rId20"/>
    <p:sldId id="296" r:id="rId21"/>
    <p:sldId id="264" r:id="rId22"/>
    <p:sldId id="265" r:id="rId23"/>
    <p:sldId id="270" r:id="rId24"/>
    <p:sldId id="274" r:id="rId25"/>
    <p:sldId id="273" r:id="rId26"/>
    <p:sldId id="291" r:id="rId27"/>
    <p:sldId id="275" r:id="rId28"/>
    <p:sldId id="276" r:id="rId29"/>
    <p:sldId id="277" r:id="rId30"/>
    <p:sldId id="286" r:id="rId31"/>
    <p:sldId id="287" r:id="rId32"/>
    <p:sldId id="288" r:id="rId33"/>
    <p:sldId id="297" r:id="rId34"/>
    <p:sldId id="298" r:id="rId35"/>
  </p:sldIdLst>
  <p:sldSz cx="9906000" cy="6858000" type="A4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pos="2689" userDrawn="1">
          <p15:clr>
            <a:srgbClr val="A4A3A4"/>
          </p15:clr>
        </p15:guide>
        <p15:guide id="3" pos="264" userDrawn="1">
          <p15:clr>
            <a:srgbClr val="A4A3A4"/>
          </p15:clr>
        </p15:guide>
        <p15:guide id="4" pos="5976" userDrawn="1">
          <p15:clr>
            <a:srgbClr val="A4A3A4"/>
          </p15:clr>
        </p15:guide>
        <p15:guide id="5" orient="horz" pos="232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3894" userDrawn="1">
          <p15:clr>
            <a:srgbClr val="A4A3A4"/>
          </p15:clr>
        </p15:guide>
        <p15:guide id="9" pos="3783" userDrawn="1">
          <p15:clr>
            <a:srgbClr val="A4A3A4"/>
          </p15:clr>
        </p15:guide>
        <p15:guide id="10" pos="872" userDrawn="1">
          <p15:clr>
            <a:srgbClr val="A4A3A4"/>
          </p15:clr>
        </p15:guide>
        <p15:guide id="11" pos="356" userDrawn="1">
          <p15:clr>
            <a:srgbClr val="A4A3A4"/>
          </p15:clr>
        </p15:guide>
        <p15:guide id="12" pos="4549" userDrawn="1">
          <p15:clr>
            <a:srgbClr val="A4A3A4"/>
          </p15:clr>
        </p15:guide>
        <p15:guide id="13" orient="horz" pos="300" userDrawn="1">
          <p15:clr>
            <a:srgbClr val="A4A3A4"/>
          </p15:clr>
        </p15:guide>
        <p15:guide id="14" orient="horz" pos="100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문희(Hee Moon) 부장 베스핀글로벌" initials="문M부베" lastIdx="1" clrIdx="0">
    <p:extLst>
      <p:ext uri="{19B8F6BF-5375-455C-9EA6-DF929625EA0E}">
        <p15:presenceInfo xmlns:p15="http://schemas.microsoft.com/office/powerpoint/2012/main" userId="S-1-5-21-1229272821-1614895754-1606980848-5803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FF"/>
    <a:srgbClr val="CCECFF"/>
    <a:srgbClr val="0000C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58" autoAdjust="0"/>
    <p:restoredTop sz="94660"/>
  </p:normalViewPr>
  <p:slideViewPr>
    <p:cSldViewPr snapToGrid="0" showGuides="1">
      <p:cViewPr varScale="1">
        <p:scale>
          <a:sx n="117" d="100"/>
          <a:sy n="117" d="100"/>
        </p:scale>
        <p:origin x="306" y="96"/>
      </p:cViewPr>
      <p:guideLst>
        <p:guide orient="horz" pos="731"/>
        <p:guide pos="2689"/>
        <p:guide pos="264"/>
        <p:guide pos="5976"/>
        <p:guide orient="horz" pos="232"/>
        <p:guide orient="horz" pos="3702"/>
        <p:guide orient="horz" pos="640"/>
        <p:guide pos="3894"/>
        <p:guide pos="3783"/>
        <p:guide pos="872"/>
        <p:guide pos="356"/>
        <p:guide pos="4549"/>
        <p:guide orient="horz" pos="300"/>
        <p:guide orient="horz" pos="100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DED8E8-9D00-4618-939A-97A69BACCBBC}" type="datetimeFigureOut">
              <a:rPr lang="ko-KR" altLang="en-US" smtClean="0"/>
              <a:t>2020-02-17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7D42E9-7077-43E2-BB04-4B6CD6C68F8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2573116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0A77CB-DC3D-4AD0-94E7-770CAC3FD300}" type="datetimeFigureOut">
              <a:rPr lang="ko-KR" altLang="en-US" smtClean="0"/>
              <a:t>2020-02-1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C0D0BA-857C-4FF0-9B0E-53C951313CC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06590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3"/>
          <p:cNvSpPr>
            <a:spLocks noChangeShapeType="1"/>
          </p:cNvSpPr>
          <p:nvPr/>
        </p:nvSpPr>
        <p:spPr bwMode="auto">
          <a:xfrm>
            <a:off x="968375" y="4659313"/>
            <a:ext cx="8667750" cy="0"/>
          </a:xfrm>
          <a:prstGeom prst="line">
            <a:avLst/>
          </a:prstGeom>
          <a:noFill/>
          <a:ln w="28575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" name="Freeform 17"/>
          <p:cNvSpPr>
            <a:spLocks/>
          </p:cNvSpPr>
          <p:nvPr/>
        </p:nvSpPr>
        <p:spPr bwMode="auto">
          <a:xfrm>
            <a:off x="8840788" y="2103438"/>
            <a:ext cx="1066800" cy="3622675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chemeClr val="bg1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" name="Freeform 18"/>
          <p:cNvSpPr>
            <a:spLocks/>
          </p:cNvSpPr>
          <p:nvPr/>
        </p:nvSpPr>
        <p:spPr bwMode="auto">
          <a:xfrm>
            <a:off x="8883650" y="2182819"/>
            <a:ext cx="1022350" cy="3500437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rgbClr val="0083CD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8" name="그림 7" descr="상로고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906000" cy="1361087"/>
          </a:xfrm>
          <a:prstGeom prst="rect">
            <a:avLst/>
          </a:prstGeom>
        </p:spPr>
      </p:pic>
      <p:sp>
        <p:nvSpPr>
          <p:cNvPr id="10" name="Rectangle 27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19163" y="2868613"/>
            <a:ext cx="2622513" cy="405683"/>
          </a:xfrm>
          <a:ln/>
        </p:spPr>
        <p:txBody>
          <a:bodyPr wrap="none" tIns="18000" bIns="18000"/>
          <a:lstStyle>
            <a:lvl1pPr>
              <a:defRPr sz="2400" b="0">
                <a:solidFill>
                  <a:srgbClr val="0018A8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</a:lstStyle>
          <a:p>
            <a:r>
              <a:rPr lang="ko-KR" altLang="en-US" dirty="0"/>
              <a:t>제목을 입력하십시오</a:t>
            </a:r>
          </a:p>
        </p:txBody>
      </p:sp>
      <p:sp>
        <p:nvSpPr>
          <p:cNvPr id="11" name="텍스트 개체 틀 10"/>
          <p:cNvSpPr>
            <a:spLocks noGrp="1"/>
          </p:cNvSpPr>
          <p:nvPr>
            <p:ph type="body" sz="quarter" idx="10" hasCustomPrompt="1"/>
          </p:nvPr>
        </p:nvSpPr>
        <p:spPr>
          <a:xfrm>
            <a:off x="919163" y="3356992"/>
            <a:ext cx="2622513" cy="405683"/>
          </a:xfrm>
          <a:prstGeom prst="rect">
            <a:avLst/>
          </a:prstGeom>
        </p:spPr>
        <p:txBody>
          <a:bodyPr wrap="none" lIns="0" tIns="18000" rIns="0" bIns="18000">
            <a:sp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ko-KR" altLang="en-US" sz="2400" b="0" i="0" u="none" strike="noStrike" kern="0" cap="none" spc="0" normalizeH="0" baseline="0" noProof="0">
                <a:ln>
                  <a:noFill/>
                </a:ln>
                <a:solidFill>
                  <a:srgbClr val="0018A8"/>
                </a:solidFill>
                <a:effectLst/>
                <a:uLnTx/>
                <a:uFillTx/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3pPr>
              <a:defRPr lang="ko-KR" altLang="en-US" dirty="0" smtClean="0"/>
            </a:lvl3pPr>
            <a:lvl4pPr>
              <a:defRPr lang="ko-KR" altLang="en-US" dirty="0" smtClean="0"/>
            </a:lvl4pPr>
            <a:lvl5pPr>
              <a:defRPr lang="ko-KR" altLang="en-US" dirty="0"/>
            </a:lvl5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제목을 입력하십시오</a:t>
            </a:r>
            <a:endParaRPr kumimoji="0" lang="ko-KR" altLang="en-US" sz="2400" b="0" i="0" u="none" strike="noStrike" kern="0" cap="none" spc="0" normalizeH="0" baseline="0" noProof="0" dirty="0">
              <a:ln>
                <a:noFill/>
              </a:ln>
              <a:solidFill>
                <a:srgbClr val="0018A8"/>
              </a:solidFill>
              <a:effectLst/>
              <a:uLnTx/>
              <a:uFillTx/>
              <a:latin typeface="Noto Sans" pitchFamily="34" charset="0"/>
              <a:ea typeface="윤고딕130" pitchFamily="18" charset="-127"/>
              <a:cs typeface="+mj-cs"/>
            </a:endParaRP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234C8752-07CE-490A-8788-1B6D7F2CB0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56264" y="348016"/>
            <a:ext cx="1973523" cy="524311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wrap="square" tIns="46800" anchor="t" anchorCtr="0">
            <a:spAutoFit/>
          </a:bodyPr>
          <a:lstStyle/>
          <a:p>
            <a:pPr algn="ctr"/>
            <a:r>
              <a:rPr lang="ko-KR" altLang="en-US" sz="1400" baseline="0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rPr>
              <a:t>문서보안등급</a:t>
            </a:r>
            <a:endParaRPr lang="en-US" altLang="ko-KR" sz="1400" baseline="0">
              <a:solidFill>
                <a:schemeClr val="tx1"/>
              </a:solidFill>
              <a:latin typeface="Noto Sans CJK KR Regular" pitchFamily="34" charset="-127"/>
              <a:ea typeface="Noto Sans CJK KR Regular" pitchFamily="34" charset="-127"/>
            </a:endParaRPr>
          </a:p>
          <a:p>
            <a:pPr algn="ctr"/>
            <a:r>
              <a:rPr lang="en-US" altLang="ko-KR" sz="1400" baseline="0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rPr>
              <a:t>(</a:t>
            </a:r>
            <a:r>
              <a:rPr lang="ko-KR" altLang="en-US" sz="1400" baseline="0" err="1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rPr>
              <a:t>일반비</a:t>
            </a:r>
            <a:r>
              <a:rPr lang="en-US" altLang="ko-KR" sz="1400" baseline="0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rPr>
              <a:t>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FB72CF-BDD9-4BBA-9FE1-3BE64BE7ED26}"/>
              </a:ext>
            </a:extLst>
          </p:cNvPr>
          <p:cNvSpPr txBox="1"/>
          <p:nvPr/>
        </p:nvSpPr>
        <p:spPr>
          <a:xfrm>
            <a:off x="966788" y="6388953"/>
            <a:ext cx="8057571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본 문서는 </a:t>
            </a:r>
            <a:r>
              <a:rPr kumimoji="0" lang="en-US" altLang="ko-KR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(</a:t>
            </a:r>
            <a:r>
              <a:rPr kumimoji="0" lang="ko-KR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주</a:t>
            </a:r>
            <a:r>
              <a:rPr kumimoji="0" lang="en-US" altLang="ko-KR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)</a:t>
            </a:r>
            <a:r>
              <a:rPr kumimoji="0" lang="ko-KR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두산 정보자산으로</a:t>
            </a:r>
            <a:r>
              <a:rPr kumimoji="0" lang="en-US" altLang="ko-KR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, </a:t>
            </a:r>
            <a:r>
              <a:rPr kumimoji="0" lang="ko-KR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승인을 받지 않은 문서의 열람</a:t>
            </a:r>
            <a:r>
              <a:rPr kumimoji="0" lang="en-US" altLang="ko-KR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, </a:t>
            </a:r>
            <a:r>
              <a:rPr kumimoji="0" lang="ko-KR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수정</a:t>
            </a:r>
            <a:r>
              <a:rPr kumimoji="0" lang="en-US" altLang="ko-KR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, </a:t>
            </a:r>
            <a:r>
              <a:rPr kumimoji="0" lang="ko-KR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배포</a:t>
            </a:r>
            <a:r>
              <a:rPr kumimoji="0" lang="en-US" altLang="ko-KR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, </a:t>
            </a:r>
            <a:r>
              <a:rPr kumimoji="0" lang="ko-KR" altLang="en-US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복사를 금지합니다</a:t>
            </a:r>
            <a:r>
              <a:rPr kumimoji="0" lang="en-US" altLang="ko-KR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.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Noto Sans CJK KR Regular" pitchFamily="34" charset="-127"/>
                <a:ea typeface="Noto Sans CJK KR Regular" pitchFamily="34" charset="-127"/>
                <a:cs typeface="Arial" pitchFamily="34" charset="0"/>
              </a:rPr>
              <a:t>This document is the informational asset of Doosan Corporation. Thus, unauthorized access, revision, distribution and copying of this document are strictly prohibited. </a:t>
            </a:r>
            <a:endParaRPr kumimoji="0" lang="ko-KR" altLang="en-US" sz="700" b="0" i="0" u="none" strike="noStrike" kern="0" cap="none" spc="0" normalizeH="0" baseline="0" noProof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Noto Sans CJK KR Regular" pitchFamily="34" charset="-127"/>
              <a:ea typeface="Noto Sans CJK KR Regular" pitchFamily="34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017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531814" y="873125"/>
            <a:ext cx="8799513" cy="369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aseline="0">
                <a:latin typeface="Noto Sans KR Regular" panose="020B0500000000000000" pitchFamily="34" charset="-127"/>
                <a:ea typeface="Noto Sans KR Regular" panose="020B0500000000000000" pitchFamily="34" charset="-127"/>
              </a:defRPr>
            </a:lvl1pPr>
            <a:lvl2pPr>
              <a:defRPr sz="1700">
                <a:latin typeface="Noto Sans CJK KR Regular" pitchFamily="34" charset="-127"/>
                <a:ea typeface="Noto Sans CJK KR Regular" pitchFamily="34" charset="-127"/>
              </a:defRPr>
            </a:lvl2pPr>
            <a:lvl3pPr>
              <a:defRPr sz="1700">
                <a:latin typeface="Noto Sans CJK KR Regular" pitchFamily="34" charset="-127"/>
                <a:ea typeface="Noto Sans CJK KR Regular" pitchFamily="34" charset="-127"/>
              </a:defRPr>
            </a:lvl3pPr>
            <a:lvl4pPr>
              <a:defRPr sz="1700">
                <a:latin typeface="Noto Sans CJK KR Regular" pitchFamily="34" charset="-127"/>
                <a:ea typeface="Noto Sans CJK KR Regular" pitchFamily="34" charset="-127"/>
              </a:defRPr>
            </a:lvl4pPr>
            <a:lvl5pPr>
              <a:defRPr sz="1700">
                <a:latin typeface="Noto Sans CJK KR Regular" pitchFamily="34" charset="-127"/>
                <a:ea typeface="Noto Sans CJK KR Regular" pitchFamily="34" charset="-127"/>
              </a:defRPr>
            </a:lvl5pPr>
          </a:lstStyle>
          <a:p>
            <a:pPr lvl="0"/>
            <a:r>
              <a:rPr lang="ko-KR" altLang="en-US"/>
              <a:t>하위 제목을 입력하십시오</a:t>
            </a:r>
            <a:r>
              <a:rPr lang="en-US" altLang="ko-KR"/>
              <a:t> </a:t>
            </a:r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1814" y="360364"/>
            <a:ext cx="8799512" cy="292388"/>
          </a:xfrm>
        </p:spPr>
        <p:txBody>
          <a:bodyPr/>
          <a:lstStyle>
            <a:lvl1pPr>
              <a:defRPr>
                <a:latin typeface="Noto Sans KR Regular" panose="020B0500000000000000" pitchFamily="34" charset="-127"/>
                <a:ea typeface="Noto Sans KR Regular" panose="020B0500000000000000" pitchFamily="34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21119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531814" y="873125"/>
            <a:ext cx="8799513" cy="369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aseline="0">
                <a:latin typeface="Noto Sans KR Regular" panose="020B0500000000000000" pitchFamily="34" charset="-127"/>
                <a:ea typeface="Noto Sans KR Regular" panose="020B0500000000000000" pitchFamily="34" charset="-127"/>
              </a:defRPr>
            </a:lvl1pPr>
            <a:lvl2pPr>
              <a:defRPr sz="1700">
                <a:latin typeface="Noto Sans CJK KR Regular" pitchFamily="34" charset="-127"/>
                <a:ea typeface="Noto Sans CJK KR Regular" pitchFamily="34" charset="-127"/>
              </a:defRPr>
            </a:lvl2pPr>
            <a:lvl3pPr>
              <a:defRPr sz="1700">
                <a:latin typeface="Noto Sans CJK KR Regular" pitchFamily="34" charset="-127"/>
                <a:ea typeface="Noto Sans CJK KR Regular" pitchFamily="34" charset="-127"/>
              </a:defRPr>
            </a:lvl3pPr>
            <a:lvl4pPr>
              <a:defRPr sz="1700">
                <a:latin typeface="Noto Sans CJK KR Regular" pitchFamily="34" charset="-127"/>
                <a:ea typeface="Noto Sans CJK KR Regular" pitchFamily="34" charset="-127"/>
              </a:defRPr>
            </a:lvl4pPr>
            <a:lvl5pPr>
              <a:defRPr sz="1700">
                <a:latin typeface="Noto Sans CJK KR Regular" pitchFamily="34" charset="-127"/>
                <a:ea typeface="Noto Sans CJK KR Regular" pitchFamily="34" charset="-127"/>
              </a:defRPr>
            </a:lvl5pPr>
          </a:lstStyle>
          <a:p>
            <a:pPr lvl="0"/>
            <a:r>
              <a:rPr lang="ko-KR" altLang="en-US" dirty="0"/>
              <a:t>하위 제목을 입력하십시오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1814" y="360364"/>
            <a:ext cx="8799512" cy="292388"/>
          </a:xfrm>
        </p:spPr>
        <p:txBody>
          <a:bodyPr/>
          <a:lstStyle>
            <a:lvl1pPr>
              <a:defRPr>
                <a:latin typeface="Noto Sans KR Regular" panose="020B0500000000000000" pitchFamily="34" charset="-127"/>
                <a:ea typeface="Noto Sans KR Regular" panose="020B0500000000000000" pitchFamily="34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31814" y="1711326"/>
            <a:ext cx="8799512" cy="923330"/>
          </a:xfrm>
          <a:prstGeom prst="rect">
            <a:avLst/>
          </a:prstGeom>
        </p:spPr>
        <p:txBody>
          <a:bodyPr/>
          <a:lstStyle>
            <a:lvl1pPr marL="101600" indent="-101600">
              <a:lnSpc>
                <a:spcPct val="120000"/>
              </a:lnSpc>
              <a:defRPr>
                <a:latin typeface="Noto Sans KR Regular" panose="020B0500000000000000" pitchFamily="34" charset="-127"/>
                <a:ea typeface="Noto Sans KR Regular" panose="020B0500000000000000" pitchFamily="34" charset="-127"/>
              </a:defRPr>
            </a:lvl1pPr>
            <a:lvl3pPr>
              <a:lnSpc>
                <a:spcPct val="120000"/>
              </a:lnSpc>
              <a:defRPr>
                <a:latin typeface="Noto Sans KR Regular" panose="020B0500000000000000" pitchFamily="34" charset="-127"/>
                <a:ea typeface="Noto Sans KR Regular" panose="020B0500000000000000" pitchFamily="34" charset="-127"/>
              </a:defRPr>
            </a:lvl3pPr>
            <a:lvl4pPr>
              <a:lnSpc>
                <a:spcPct val="120000"/>
              </a:lnSpc>
              <a:defRPr>
                <a:latin typeface="Noto Sans KR Regular" panose="020B0500000000000000" pitchFamily="34" charset="-127"/>
                <a:ea typeface="Noto Sans KR Regular" panose="020B0500000000000000" pitchFamily="34" charset="-127"/>
              </a:defRPr>
            </a:lvl4pPr>
            <a:lvl5pPr>
              <a:lnSpc>
                <a:spcPct val="120000"/>
              </a:lnSpc>
              <a:defRPr>
                <a:latin typeface="Noto Sans KR Regular" panose="020B0500000000000000" pitchFamily="34" charset="-127"/>
                <a:ea typeface="Noto Sans KR Regular" panose="020B0500000000000000" pitchFamily="34" charset="-127"/>
              </a:defRPr>
            </a:lvl5pPr>
          </a:lstStyle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</p:txBody>
      </p:sp>
    </p:spTree>
    <p:extLst>
      <p:ext uri="{BB962C8B-B14F-4D97-AF65-F5344CB8AC3E}">
        <p14:creationId xmlns:p14="http://schemas.microsoft.com/office/powerpoint/2010/main" val="36790170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531814" y="873125"/>
            <a:ext cx="8799513" cy="369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aseline="0">
                <a:latin typeface="Noto Sans CJK KR Regular" pitchFamily="34" charset="-127"/>
                <a:ea typeface="Noto Sans CJK KR Regular" pitchFamily="34" charset="-127"/>
              </a:defRPr>
            </a:lvl1pPr>
            <a:lvl2pPr>
              <a:defRPr sz="1700">
                <a:latin typeface="Noto Sans CJK KR Regular" pitchFamily="34" charset="-127"/>
                <a:ea typeface="Noto Sans CJK KR Regular" pitchFamily="34" charset="-127"/>
              </a:defRPr>
            </a:lvl2pPr>
            <a:lvl3pPr>
              <a:defRPr sz="1700">
                <a:latin typeface="Noto Sans CJK KR Regular" pitchFamily="34" charset="-127"/>
                <a:ea typeface="Noto Sans CJK KR Regular" pitchFamily="34" charset="-127"/>
              </a:defRPr>
            </a:lvl3pPr>
            <a:lvl4pPr>
              <a:defRPr sz="1700">
                <a:latin typeface="Noto Sans CJK KR Regular" pitchFamily="34" charset="-127"/>
                <a:ea typeface="Noto Sans CJK KR Regular" pitchFamily="34" charset="-127"/>
              </a:defRPr>
            </a:lvl4pPr>
            <a:lvl5pPr>
              <a:defRPr sz="1700">
                <a:latin typeface="Noto Sans CJK KR Regular" pitchFamily="34" charset="-127"/>
                <a:ea typeface="Noto Sans CJK KR Regular" pitchFamily="34" charset="-127"/>
              </a:defRPr>
            </a:lvl5pPr>
          </a:lstStyle>
          <a:p>
            <a:pPr lvl="0"/>
            <a:r>
              <a:rPr lang="ko-KR" altLang="en-US"/>
              <a:t>하위 제목을 입력하십시오</a:t>
            </a:r>
            <a:r>
              <a:rPr lang="en-US" altLang="ko-KR"/>
              <a:t> </a:t>
            </a:r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1814" y="360364"/>
            <a:ext cx="8799512" cy="292388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31814" y="1711326"/>
            <a:ext cx="8799512" cy="923330"/>
          </a:xfrm>
          <a:prstGeom prst="rect">
            <a:avLst/>
          </a:prstGeom>
        </p:spPr>
        <p:txBody>
          <a:bodyPr/>
          <a:lstStyle>
            <a:lvl1pPr marL="101600" indent="-101600">
              <a:lnSpc>
                <a:spcPct val="120000"/>
              </a:lnSpc>
              <a:defRPr>
                <a:latin typeface="Noto Sans CJK KR Regular" pitchFamily="34" charset="-127"/>
                <a:ea typeface="Noto Sans CJK KR Regular" pitchFamily="34" charset="-127"/>
              </a:defRPr>
            </a:lvl1pPr>
            <a:lvl3pPr>
              <a:lnSpc>
                <a:spcPct val="120000"/>
              </a:lnSpc>
              <a:defRPr>
                <a:latin typeface="Noto Sans CJK KR Regular" pitchFamily="34" charset="-127"/>
                <a:ea typeface="Noto Sans CJK KR Regular" pitchFamily="34" charset="-127"/>
              </a:defRPr>
            </a:lvl3pPr>
            <a:lvl4pPr>
              <a:lnSpc>
                <a:spcPct val="120000"/>
              </a:lnSpc>
              <a:defRPr>
                <a:latin typeface="Noto Sans CJK KR Regular" pitchFamily="34" charset="-127"/>
                <a:ea typeface="Noto Sans CJK KR Regular" pitchFamily="34" charset="-127"/>
              </a:defRPr>
            </a:lvl4pPr>
            <a:lvl5pPr>
              <a:lnSpc>
                <a:spcPct val="120000"/>
              </a:lnSpc>
              <a:defRPr>
                <a:latin typeface="Noto Sans CJK KR Regular" pitchFamily="34" charset="-127"/>
                <a:ea typeface="Noto Sans CJK KR Regular" pitchFamily="34" charset="-127"/>
              </a:defRPr>
            </a:lvl5pPr>
          </a:lstStyle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</p:txBody>
      </p:sp>
    </p:spTree>
    <p:extLst>
      <p:ext uri="{BB962C8B-B14F-4D97-AF65-F5344CB8AC3E}">
        <p14:creationId xmlns:p14="http://schemas.microsoft.com/office/powerpoint/2010/main" val="2776122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531814" y="873125"/>
            <a:ext cx="8799513" cy="369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aseline="0">
                <a:latin typeface="Noto Sans CJK KR Regular" pitchFamily="34" charset="-127"/>
                <a:ea typeface="Noto Sans CJK KR Regular" pitchFamily="34" charset="-127"/>
              </a:defRPr>
            </a:lvl1pPr>
            <a:lvl2pPr>
              <a:defRPr sz="1700">
                <a:latin typeface="Noto Sans CJK KR Regular" pitchFamily="34" charset="-127"/>
                <a:ea typeface="Noto Sans CJK KR Regular" pitchFamily="34" charset="-127"/>
              </a:defRPr>
            </a:lvl2pPr>
            <a:lvl3pPr>
              <a:defRPr sz="1700">
                <a:latin typeface="Noto Sans CJK KR Regular" pitchFamily="34" charset="-127"/>
                <a:ea typeface="Noto Sans CJK KR Regular" pitchFamily="34" charset="-127"/>
              </a:defRPr>
            </a:lvl3pPr>
            <a:lvl4pPr>
              <a:defRPr sz="1700">
                <a:latin typeface="Noto Sans CJK KR Regular" pitchFamily="34" charset="-127"/>
                <a:ea typeface="Noto Sans CJK KR Regular" pitchFamily="34" charset="-127"/>
              </a:defRPr>
            </a:lvl4pPr>
            <a:lvl5pPr>
              <a:defRPr sz="1700">
                <a:latin typeface="Noto Sans CJK KR Regular" pitchFamily="34" charset="-127"/>
                <a:ea typeface="Noto Sans CJK KR Regular" pitchFamily="34" charset="-127"/>
              </a:defRPr>
            </a:lvl5pPr>
          </a:lstStyle>
          <a:p>
            <a:pPr lvl="0"/>
            <a:r>
              <a:rPr lang="ko-KR" altLang="en-US"/>
              <a:t>하위 제목을 입력하십시오</a:t>
            </a:r>
            <a:r>
              <a:rPr lang="en-US" altLang="ko-KR"/>
              <a:t> </a:t>
            </a:r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1814" y="360364"/>
            <a:ext cx="8799512" cy="292388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31814" y="1711326"/>
            <a:ext cx="8799512" cy="923330"/>
          </a:xfrm>
          <a:prstGeom prst="rect">
            <a:avLst/>
          </a:prstGeom>
        </p:spPr>
        <p:txBody>
          <a:bodyPr/>
          <a:lstStyle>
            <a:lvl1pPr marL="101600" indent="-101600">
              <a:lnSpc>
                <a:spcPct val="120000"/>
              </a:lnSpc>
              <a:defRPr>
                <a:latin typeface="Noto Sans CJK KR Regular" pitchFamily="34" charset="-127"/>
                <a:ea typeface="Noto Sans CJK KR Regular" pitchFamily="34" charset="-127"/>
              </a:defRPr>
            </a:lvl1pPr>
            <a:lvl3pPr>
              <a:lnSpc>
                <a:spcPct val="120000"/>
              </a:lnSpc>
              <a:defRPr>
                <a:latin typeface="Noto Sans CJK KR Regular" pitchFamily="34" charset="-127"/>
                <a:ea typeface="Noto Sans CJK KR Regular" pitchFamily="34" charset="-127"/>
              </a:defRPr>
            </a:lvl3pPr>
            <a:lvl4pPr>
              <a:lnSpc>
                <a:spcPct val="120000"/>
              </a:lnSpc>
              <a:defRPr>
                <a:latin typeface="Noto Sans CJK KR Regular" pitchFamily="34" charset="-127"/>
                <a:ea typeface="Noto Sans CJK KR Regular" pitchFamily="34" charset="-127"/>
              </a:defRPr>
            </a:lvl4pPr>
            <a:lvl5pPr>
              <a:lnSpc>
                <a:spcPct val="120000"/>
              </a:lnSpc>
              <a:defRPr>
                <a:latin typeface="Noto Sans CJK KR Regular" pitchFamily="34" charset="-127"/>
                <a:ea typeface="Noto Sans CJK KR Regular" pitchFamily="34" charset="-127"/>
              </a:defRPr>
            </a:lvl5pPr>
          </a:lstStyle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</p:txBody>
      </p:sp>
    </p:spTree>
    <p:extLst>
      <p:ext uri="{BB962C8B-B14F-4D97-AF65-F5344CB8AC3E}">
        <p14:creationId xmlns:p14="http://schemas.microsoft.com/office/powerpoint/2010/main" val="1615593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1FBA1-C3A0-4776-83B6-CEB14252E501}" type="datetime1">
              <a:rPr lang="ko-KR" altLang="en-US" smtClean="0"/>
              <a:t>2020-02-17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4055C-3B5D-42C6-A3A1-E3F931C944C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09110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3546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1814" y="360364"/>
            <a:ext cx="8799512" cy="292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dirty="0"/>
              <a:t>제목을 입력하십시오</a:t>
            </a:r>
            <a:endParaRPr lang="en-US" altLang="ko-KR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531813" y="777875"/>
            <a:ext cx="9175750" cy="0"/>
          </a:xfrm>
          <a:prstGeom prst="line">
            <a:avLst/>
          </a:prstGeom>
          <a:noFill/>
          <a:ln w="19050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9577388" y="7938"/>
            <a:ext cx="328612" cy="1109662"/>
            <a:chOff x="6033" y="5"/>
            <a:chExt cx="207" cy="699"/>
          </a:xfrm>
        </p:grpSpPr>
        <p:sp>
          <p:nvSpPr>
            <p:cNvPr id="1039" name="Freeform 15"/>
            <p:cNvSpPr>
              <a:spLocks/>
            </p:cNvSpPr>
            <p:nvPr/>
          </p:nvSpPr>
          <p:spPr bwMode="auto">
            <a:xfrm>
              <a:off x="6033" y="5"/>
              <a:ext cx="207" cy="699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ko-KR" altLang="en-US" dirty="0">
                <a:latin typeface="Noto Sans CJK KR Regular" panose="020B0500000000000000" pitchFamily="34" charset="-127"/>
                <a:ea typeface="Noto Sans CJK KR Regular" panose="020B0500000000000000" pitchFamily="34" charset="-127"/>
              </a:endParaRPr>
            </a:p>
          </p:txBody>
        </p:sp>
        <p:sp>
          <p:nvSpPr>
            <p:cNvPr id="1040" name="Freeform 16"/>
            <p:cNvSpPr>
              <a:spLocks/>
            </p:cNvSpPr>
            <p:nvPr/>
          </p:nvSpPr>
          <p:spPr bwMode="auto">
            <a:xfrm>
              <a:off x="6048" y="43"/>
              <a:ext cx="192" cy="651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ko-KR" altLang="en-US" dirty="0">
                <a:latin typeface="Noto Sans CJK KR Regular" panose="020B0500000000000000" pitchFamily="34" charset="-127"/>
                <a:ea typeface="Noto Sans CJK KR Regular" panose="020B0500000000000000" pitchFamily="34" charset="-127"/>
              </a:endParaRPr>
            </a:p>
          </p:txBody>
        </p:sp>
      </p:grpSp>
      <p:pic>
        <p:nvPicPr>
          <p:cNvPr id="12" name="그림 11" descr="하로고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6191576"/>
            <a:ext cx="9906000" cy="666424"/>
          </a:xfrm>
          <a:prstGeom prst="rect">
            <a:avLst/>
          </a:prstGeom>
        </p:spPr>
      </p:pic>
      <p:sp>
        <p:nvSpPr>
          <p:cNvPr id="11" name="Rectangle 6"/>
          <p:cNvSpPr txBox="1">
            <a:spLocks noChangeArrowheads="1"/>
          </p:cNvSpPr>
          <p:nvPr/>
        </p:nvSpPr>
        <p:spPr bwMode="auto">
          <a:xfrm>
            <a:off x="4840224" y="6589835"/>
            <a:ext cx="420869" cy="195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marL="0" algn="ctr" defTabSz="914400" rtl="0" eaLnBrk="1" latinLnBrk="1" hangingPunct="1">
              <a:defRPr sz="900" kern="1200" baseline="0">
                <a:solidFill>
                  <a:srgbClr val="333333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31EF591-919B-48DA-BCE4-71E82F2EA76B}" type="slidenum">
              <a:rPr lang="ko-KR" altLang="en-US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pPr/>
              <a:t>‹#›</a:t>
            </a:fld>
            <a:endParaRPr lang="en-US" altLang="ko-KR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8954"/>
          <a:stretch/>
        </p:blipFill>
        <p:spPr>
          <a:xfrm>
            <a:off x="9233458" y="6504325"/>
            <a:ext cx="477096" cy="278096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06D7CC67-CB6D-4DA4-BA20-F3AB4724A0D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287" y="6565255"/>
            <a:ext cx="1511817" cy="160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055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</p:sldLayoutIdLst>
  <p:hf sldNum="0" hdr="0" ftr="0" dt="0"/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sz="1900" b="0">
          <a:solidFill>
            <a:srgbClr val="000000"/>
          </a:solidFill>
          <a:latin typeface="Noto Sans CJK KR Regular" panose="020B0500000000000000" pitchFamily="34" charset="-127"/>
          <a:ea typeface="Noto Sans CJK KR Regular" panose="020B0500000000000000" pitchFamily="34" charset="-127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5pPr>
      <a:lvl6pPr marL="457200" algn="l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6pPr>
      <a:lvl7pPr marL="914400" algn="l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7pPr>
      <a:lvl8pPr marL="1371600" algn="l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8pPr>
      <a:lvl9pPr marL="1828800" algn="l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9pPr>
    </p:titleStyle>
    <p:bodyStyle>
      <a:lvl1pPr marL="342900" indent="-342900" algn="l" defTabSz="936625" rtl="0" eaLnBrk="1" fontAlgn="base" latinLnBrk="1" hangingPunct="1"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04775" indent="-103188" algn="l" defTabSz="936625" rtl="0" eaLnBrk="1" fontAlgn="base" latinLnBrk="1" hangingPunct="1"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</a:defRPr>
      </a:lvl2pPr>
      <a:lvl3pPr marL="209550" indent="-103188" algn="l" defTabSz="936625" rtl="0" eaLnBrk="1" fontAlgn="base" latinLnBrk="1" hangingPunct="1">
        <a:spcBef>
          <a:spcPct val="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3pPr>
      <a:lvl4pPr marL="314325" indent="-103188" algn="l" defTabSz="936625" rtl="0" eaLnBrk="1" fontAlgn="base" latinLnBrk="1" hangingPunct="1">
        <a:spcBef>
          <a:spcPct val="0"/>
        </a:spcBef>
        <a:spcAft>
          <a:spcPct val="0"/>
        </a:spcAft>
        <a:buChar char="·"/>
        <a:defRPr sz="1200">
          <a:solidFill>
            <a:schemeClr val="tx1"/>
          </a:solidFill>
          <a:latin typeface="+mn-lt"/>
          <a:ea typeface="+mn-ea"/>
        </a:defRPr>
      </a:lvl4pPr>
      <a:lvl5pPr marL="420688" indent="-98425" algn="l" defTabSz="936625" rtl="0" eaLnBrk="1" fontAlgn="base" latinLnBrk="1" hangingPunct="1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5pPr>
      <a:lvl6pPr marL="877888" indent="-98425" algn="l" defTabSz="936625" rtl="0" eaLnBrk="1" fontAlgn="base" latinLnBrk="1" hangingPunct="1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6pPr>
      <a:lvl7pPr marL="1335088" indent="-98425" algn="l" defTabSz="936625" rtl="0" eaLnBrk="1" fontAlgn="base" latinLnBrk="1" hangingPunct="1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7pPr>
      <a:lvl8pPr marL="1792288" indent="-98425" algn="l" defTabSz="936625" rtl="0" eaLnBrk="1" fontAlgn="base" latinLnBrk="1" hangingPunct="1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8pPr>
      <a:lvl9pPr marL="2249488" indent="-98425" algn="l" defTabSz="936625" rtl="0" eaLnBrk="1" fontAlgn="base" latinLnBrk="1" hangingPunct="1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" Target="slide2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4" Type="http://schemas.openxmlformats.org/officeDocument/2006/relationships/slide" Target="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" Target="slide2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13" Type="http://schemas.openxmlformats.org/officeDocument/2006/relationships/slide" Target="slide23.xml"/><Relationship Id="rId3" Type="http://schemas.openxmlformats.org/officeDocument/2006/relationships/slide" Target="slide4.xml"/><Relationship Id="rId7" Type="http://schemas.openxmlformats.org/officeDocument/2006/relationships/slide" Target="slide16.xml"/><Relationship Id="rId12" Type="http://schemas.openxmlformats.org/officeDocument/2006/relationships/slide" Target="slide29.xml"/><Relationship Id="rId2" Type="http://schemas.openxmlformats.org/officeDocument/2006/relationships/slide" Target="slide3.xml"/><Relationship Id="rId1" Type="http://schemas.openxmlformats.org/officeDocument/2006/relationships/slideLayout" Target="../slideLayouts/slideLayout6.xml"/><Relationship Id="rId6" Type="http://schemas.openxmlformats.org/officeDocument/2006/relationships/slide" Target="slide13.xml"/><Relationship Id="rId11" Type="http://schemas.openxmlformats.org/officeDocument/2006/relationships/slide" Target="slide28.xml"/><Relationship Id="rId5" Type="http://schemas.openxmlformats.org/officeDocument/2006/relationships/slide" Target="slide9.xml"/><Relationship Id="rId15" Type="http://schemas.openxmlformats.org/officeDocument/2006/relationships/slide" Target="slide14.xml"/><Relationship Id="rId10" Type="http://schemas.openxmlformats.org/officeDocument/2006/relationships/slide" Target="slide27.xml"/><Relationship Id="rId4" Type="http://schemas.openxmlformats.org/officeDocument/2006/relationships/slide" Target="slide7.xml"/><Relationship Id="rId9" Type="http://schemas.openxmlformats.org/officeDocument/2006/relationships/slide" Target="slide20.xml"/><Relationship Id="rId14" Type="http://schemas.openxmlformats.org/officeDocument/2006/relationships/slide" Target="slide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" Target="slide2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" Target="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Relationship Id="rId5" Type="http://schemas.openxmlformats.org/officeDocument/2006/relationships/slide" Target="slide2.xml"/><Relationship Id="rId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jira.d-platform.doosan.com/secure/Dashboard.jspa?selectPageId=10204" TargetMode="External"/><Relationship Id="rId7" Type="http://schemas.openxmlformats.org/officeDocument/2006/relationships/slide" Target="slide2.xml"/><Relationship Id="rId2" Type="http://schemas.openxmlformats.org/officeDocument/2006/relationships/hyperlink" Target="https://jira.d-platform.doosan.com/projects/DCTI/summary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confluence.d-platform.doosan.com/pages/viewpage.action?pageId=1770509&amp;src=sidebar" TargetMode="External"/><Relationship Id="rId5" Type="http://schemas.openxmlformats.org/officeDocument/2006/relationships/hyperlink" Target="https://jira.d-platform.doosan.com/secure/Dashboard.jspa?selectPageId=10200" TargetMode="External"/><Relationship Id="rId4" Type="http://schemas.openxmlformats.org/officeDocument/2006/relationships/hyperlink" Target="https://jira.d-platform.doosan.com/projects/DACT/summary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slide" Target="slide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" Target="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slide" Target="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slide" Target="slide12.xml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4" Type="http://schemas.openxmlformats.org/officeDocument/2006/relationships/slide" Target="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919163" y="2868613"/>
            <a:ext cx="2194512" cy="405683"/>
          </a:xfrm>
        </p:spPr>
        <p:txBody>
          <a:bodyPr/>
          <a:lstStyle/>
          <a:p>
            <a:r>
              <a:rPr lang="en-US" altLang="ko-KR" dirty="0" smtClean="0"/>
              <a:t>JIRA </a:t>
            </a:r>
            <a:r>
              <a:rPr lang="ko-KR" altLang="en-US" dirty="0" smtClean="0"/>
              <a:t>사용 가이드</a:t>
            </a:r>
            <a:endParaRPr lang="ko-KR" altLang="en-US" dirty="0"/>
          </a:p>
        </p:txBody>
      </p:sp>
      <p:sp>
        <p:nvSpPr>
          <p:cNvPr id="4" name="Text Box 24">
            <a:extLst>
              <a:ext uri="{FF2B5EF4-FFF2-40B4-BE49-F238E27FC236}">
                <a16:creationId xmlns:a16="http://schemas.microsoft.com/office/drawing/2014/main" id="{D2E901A3-49E4-41AC-94B4-9E393C6B7B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0750" y="5461000"/>
            <a:ext cx="4879975" cy="3293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srgbClr val="10399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020</a:t>
            </a:r>
            <a:r>
              <a:rPr kumimoji="1" lang="ko-KR" altLang="en-US" sz="1400" b="1" dirty="0" smtClean="0">
                <a:solidFill>
                  <a:srgbClr val="10399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년 </a:t>
            </a:r>
            <a:r>
              <a:rPr kumimoji="1" lang="en-US" altLang="ko-KR" sz="1400" b="1" dirty="0" smtClean="0">
                <a:solidFill>
                  <a:srgbClr val="10399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r>
              <a:rPr kumimoji="1" lang="ko-KR" altLang="en-US" sz="1400" b="1" dirty="0" smtClean="0">
                <a:solidFill>
                  <a:srgbClr val="10399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월</a:t>
            </a:r>
            <a:r>
              <a:rPr kumimoji="1" lang="en-US" altLang="ko-KR" sz="1400" b="1" dirty="0">
                <a:solidFill>
                  <a:srgbClr val="10399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, </a:t>
            </a:r>
            <a:r>
              <a:rPr kumimoji="1" lang="en-US" altLang="ko-KR" sz="1400" b="1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10399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DDI/</a:t>
            </a:r>
            <a:r>
              <a:rPr kumimoji="1" lang="ko-KR" altLang="en-US" sz="1400" b="1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10399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베스핀글로벌</a:t>
            </a:r>
            <a:endParaRPr kumimoji="1" lang="ko-KR" altLang="en-US" sz="1600" b="1" dirty="0">
              <a:solidFill>
                <a:srgbClr val="10399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11450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8515779" y="960780"/>
            <a:ext cx="971741" cy="2235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853" b="1" dirty="0">
                <a:solidFill>
                  <a:srgbClr val="FF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*</a:t>
            </a:r>
            <a:r>
              <a:rPr lang="en-US" altLang="ko-KR" sz="853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: </a:t>
            </a:r>
            <a:r>
              <a:rPr lang="ko-KR" altLang="en-US" sz="853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필수 입력 항목</a:t>
            </a:r>
            <a:endParaRPr lang="en-US" altLang="ko-KR" sz="853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43" name="TextBox 42">
            <a:hlinkClick r:id="rId2" action="ppaction://hlinksldjump"/>
          </p:cNvPr>
          <p:cNvSpPr txBox="1"/>
          <p:nvPr/>
        </p:nvSpPr>
        <p:spPr>
          <a:xfrm flipH="1">
            <a:off x="8477210" y="370568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27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1800" dirty="0"/>
              <a:t>이슈 등록 </a:t>
            </a:r>
            <a:r>
              <a:rPr lang="en-US" altLang="ko-KR" sz="1800" dirty="0"/>
              <a:t>(Ticket </a:t>
            </a:r>
            <a:r>
              <a:rPr lang="ko-KR" altLang="en-US" sz="1800" dirty="0"/>
              <a:t>생성</a:t>
            </a:r>
            <a:r>
              <a:rPr lang="en-US" altLang="ko-KR" sz="1800" dirty="0"/>
              <a:t>)  </a:t>
            </a:r>
            <a:r>
              <a:rPr lang="en-US" altLang="ko-KR" sz="1800" dirty="0" smtClean="0"/>
              <a:t>&lt;2/4</a:t>
            </a:r>
            <a:r>
              <a:rPr lang="en-US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pic>
        <p:nvPicPr>
          <p:cNvPr id="28" name="그림 27"/>
          <p:cNvPicPr>
            <a:picLocks noChangeAspect="1"/>
          </p:cNvPicPr>
          <p:nvPr/>
        </p:nvPicPr>
        <p:blipFill rotWithShape="1">
          <a:blip r:embed="rId3"/>
          <a:srcRect l="23851" t="20346" r="23623" b="14414"/>
          <a:stretch/>
        </p:blipFill>
        <p:spPr>
          <a:xfrm>
            <a:off x="422828" y="1160462"/>
            <a:ext cx="5576335" cy="4973414"/>
          </a:xfrm>
          <a:prstGeom prst="rect">
            <a:avLst/>
          </a:prstGeom>
        </p:spPr>
      </p:pic>
      <p:sp>
        <p:nvSpPr>
          <p:cNvPr id="35" name="직사각형 34"/>
          <p:cNvSpPr/>
          <p:nvPr/>
        </p:nvSpPr>
        <p:spPr>
          <a:xfrm>
            <a:off x="765670" y="1301711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9" name="직사각형 38"/>
          <p:cNvSpPr/>
          <p:nvPr/>
        </p:nvSpPr>
        <p:spPr>
          <a:xfrm>
            <a:off x="765499" y="1628927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0" name="직사각형 39"/>
          <p:cNvSpPr/>
          <p:nvPr/>
        </p:nvSpPr>
        <p:spPr>
          <a:xfrm>
            <a:off x="765498" y="2057162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4" name="직사각형 43"/>
          <p:cNvSpPr/>
          <p:nvPr/>
        </p:nvSpPr>
        <p:spPr>
          <a:xfrm>
            <a:off x="765493" y="2325352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5" name="직사각형 44"/>
          <p:cNvSpPr/>
          <p:nvPr/>
        </p:nvSpPr>
        <p:spPr>
          <a:xfrm>
            <a:off x="765488" y="3003471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6" name="직사각형 45"/>
          <p:cNvSpPr/>
          <p:nvPr/>
        </p:nvSpPr>
        <p:spPr>
          <a:xfrm>
            <a:off x="765483" y="3677958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7" name="직사각형 46"/>
          <p:cNvSpPr/>
          <p:nvPr/>
        </p:nvSpPr>
        <p:spPr>
          <a:xfrm>
            <a:off x="765473" y="4092299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8" name="직사각형 47"/>
          <p:cNvSpPr/>
          <p:nvPr/>
        </p:nvSpPr>
        <p:spPr>
          <a:xfrm>
            <a:off x="765468" y="4505252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9" name="직사각형 48"/>
          <p:cNvSpPr/>
          <p:nvPr/>
        </p:nvSpPr>
        <p:spPr>
          <a:xfrm>
            <a:off x="765464" y="4762436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50" name="타원 49"/>
          <p:cNvSpPr/>
          <p:nvPr/>
        </p:nvSpPr>
        <p:spPr>
          <a:xfrm>
            <a:off x="591330" y="129846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1" name="타원 50"/>
          <p:cNvSpPr/>
          <p:nvPr/>
        </p:nvSpPr>
        <p:spPr>
          <a:xfrm>
            <a:off x="591329" y="1623360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2" name="타원 51"/>
          <p:cNvSpPr/>
          <p:nvPr/>
        </p:nvSpPr>
        <p:spPr>
          <a:xfrm>
            <a:off x="591329" y="205159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3" name="타원 52"/>
          <p:cNvSpPr/>
          <p:nvPr/>
        </p:nvSpPr>
        <p:spPr>
          <a:xfrm>
            <a:off x="591329" y="231977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4" name="타원 53"/>
          <p:cNvSpPr/>
          <p:nvPr/>
        </p:nvSpPr>
        <p:spPr>
          <a:xfrm>
            <a:off x="591329" y="299982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5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5" name="타원 54"/>
          <p:cNvSpPr/>
          <p:nvPr/>
        </p:nvSpPr>
        <p:spPr>
          <a:xfrm>
            <a:off x="591329" y="367044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6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6" name="타원 55"/>
          <p:cNvSpPr/>
          <p:nvPr/>
        </p:nvSpPr>
        <p:spPr>
          <a:xfrm>
            <a:off x="591329" y="408864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7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7" name="타원 56"/>
          <p:cNvSpPr/>
          <p:nvPr/>
        </p:nvSpPr>
        <p:spPr>
          <a:xfrm>
            <a:off x="591329" y="449965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8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8" name="타원 57"/>
          <p:cNvSpPr/>
          <p:nvPr/>
        </p:nvSpPr>
        <p:spPr>
          <a:xfrm>
            <a:off x="591329" y="475490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9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765461" y="5031518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60" name="타원 59"/>
          <p:cNvSpPr/>
          <p:nvPr/>
        </p:nvSpPr>
        <p:spPr>
          <a:xfrm>
            <a:off x="591326" y="502398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0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graphicFrame>
        <p:nvGraphicFramePr>
          <p:cNvPr id="61" name="표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4842056"/>
              </p:ext>
            </p:extLst>
          </p:nvPr>
        </p:nvGraphicFramePr>
        <p:xfrm>
          <a:off x="6186196" y="1166631"/>
          <a:ext cx="3300605" cy="47102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9692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014302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996611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21801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프로젝트 선택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*</a:t>
                      </a: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f-ZA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[DDI] Cloud TF Issue </a:t>
                      </a:r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관리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8802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타입 선택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*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프로젝트 이슈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isk</a:t>
                      </a:r>
                    </a:p>
                    <a:p>
                      <a:pPr latinLnBrk="1"/>
                      <a:r>
                        <a:rPr lang="en-US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ction Item</a:t>
                      </a:r>
                    </a:p>
                    <a:p>
                      <a:pPr latinLnBrk="1"/>
                      <a:r>
                        <a:rPr lang="en-US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ask</a:t>
                      </a:r>
                    </a:p>
                    <a:p>
                      <a:pPr latinLnBrk="1"/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일정관리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Lessons Learned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33687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제목 입력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*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제목으로 이슈 내용 추정 가능하도록 간단명료하게 작성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849521"/>
                  </a:ext>
                </a:extLst>
              </a:tr>
              <a:tr h="21801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담당자 입력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다수 담당자 입력 가능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622137"/>
                  </a:ext>
                </a:extLst>
              </a:tr>
              <a:tr h="21801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5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제기자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*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등록자로 기본 설정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064023"/>
                  </a:ext>
                </a:extLst>
              </a:tr>
              <a:tr h="21801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6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Participants</a:t>
                      </a:r>
                      <a:endParaRPr lang="ko-KR" altLang="en-US" sz="800" kern="1200" baseline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이슈 </a:t>
                      </a:r>
                      <a:r>
                        <a:rPr lang="ko-KR" altLang="en-US" sz="800" kern="1200" baseline="0" dirty="0" err="1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연관자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 다수 인원 등록</a:t>
                      </a:r>
                      <a:endParaRPr lang="ko-KR" altLang="en-US" sz="800" kern="1200" baseline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60475"/>
                  </a:ext>
                </a:extLst>
              </a:tr>
              <a:tr h="3708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7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레이블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: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별도 구분을 위한 항목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자유롭게 입력 가능하나</a:t>
                      </a:r>
                      <a:r>
                        <a:rPr lang="en-US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유형을 설정하는 것이 관리에 용이함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0291830"/>
                  </a:ext>
                </a:extLst>
              </a:tr>
              <a:tr h="11519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8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업무 영역 선택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af-ZA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01.LandingZone	02.Asset</a:t>
                      </a:r>
                    </a:p>
                    <a:p>
                      <a:pPr latinLnBrk="1"/>
                      <a:r>
                        <a:rPr lang="af-ZA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03.Account	04.</a:t>
                      </a:r>
                      <a:r>
                        <a:rPr lang="ko-KR" altLang="en-US" sz="800" baseline="0" dirty="0" err="1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서비스런칭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05.</a:t>
                      </a:r>
                      <a:r>
                        <a:rPr lang="af-ZA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Network	06.Security</a:t>
                      </a:r>
                    </a:p>
                    <a:p>
                      <a:pPr latinLnBrk="1"/>
                      <a:r>
                        <a:rPr lang="af-ZA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07.PMO	08.Sales</a:t>
                      </a:r>
                    </a:p>
                    <a:p>
                      <a:pPr latinLnBrk="1"/>
                      <a:r>
                        <a:rPr lang="af-ZA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09.DB	10.CMP(OpsNow)</a:t>
                      </a:r>
                    </a:p>
                    <a:p>
                      <a:pPr latinLnBrk="1"/>
                      <a:r>
                        <a:rPr lang="af-ZA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1.</a:t>
                      </a:r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자료요청</a:t>
                      </a:r>
                      <a:r>
                        <a:rPr lang="en-US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	12.</a:t>
                      </a:r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변화관리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3.</a:t>
                      </a:r>
                      <a:r>
                        <a:rPr lang="af-ZA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Migration	14.Operation</a:t>
                      </a:r>
                    </a:p>
                    <a:p>
                      <a:pPr latinLnBrk="1"/>
                      <a:r>
                        <a:rPr lang="af-ZA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99.Etc</a:t>
                      </a: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230718"/>
                  </a:ext>
                </a:extLst>
              </a:tr>
              <a:tr h="8802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9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유형 선택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tabLst/>
                      </a:pPr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01.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품질</a:t>
                      </a:r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	02.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일정</a:t>
                      </a:r>
                      <a:endParaRPr lang="en-US" altLang="ko-KR" sz="800" kern="1200" baseline="0" dirty="0" smtClean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tabLst/>
                      </a:pPr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03.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범위</a:t>
                      </a:r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	04.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비용</a:t>
                      </a:r>
                      <a:endParaRPr lang="en-US" altLang="ko-KR" sz="800" kern="1200" baseline="0" dirty="0" smtClean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tabLst/>
                      </a:pPr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05.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커뮤니케이션</a:t>
                      </a:r>
                      <a:endParaRPr lang="en-US" altLang="ko-KR" sz="800" kern="1200" baseline="0" dirty="0" smtClean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tabLst/>
                      </a:pPr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06.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지원</a:t>
                      </a:r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	07.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계약</a:t>
                      </a:r>
                      <a:endParaRPr lang="en-US" altLang="ko-KR" sz="800" kern="1200" baseline="0" dirty="0" smtClean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tabLst/>
                      </a:pPr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08.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기술</a:t>
                      </a:r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	09.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교육</a:t>
                      </a:r>
                      <a:endParaRPr lang="en-US" altLang="ko-KR" sz="800" kern="1200" baseline="0" dirty="0" smtClean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  <a:p>
                      <a:pPr marL="0" algn="l" defTabSz="914400" rtl="0" eaLnBrk="1" latinLnBrk="1" hangingPunct="1">
                        <a:tabLst/>
                      </a:pPr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10.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보고</a:t>
                      </a:r>
                      <a:r>
                        <a:rPr lang="en-US" altLang="ko-KR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	11.</a:t>
                      </a:r>
                      <a:r>
                        <a:rPr lang="ko-KR" altLang="en-US" sz="8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기타</a:t>
                      </a:r>
                      <a:endParaRPr lang="ko-KR" altLang="en-US" sz="800" kern="1200" baseline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073334"/>
                  </a:ext>
                </a:extLst>
              </a:tr>
              <a:tr h="21801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0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내용 입력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상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내용 등 상세히 기재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6940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172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그림 38"/>
          <p:cNvPicPr>
            <a:picLocks noChangeAspect="1"/>
          </p:cNvPicPr>
          <p:nvPr/>
        </p:nvPicPr>
        <p:blipFill rotWithShape="1">
          <a:blip r:embed="rId2"/>
          <a:srcRect l="26804" t="41259" r="26719" b="3571"/>
          <a:stretch/>
        </p:blipFill>
        <p:spPr>
          <a:xfrm>
            <a:off x="428666" y="1168526"/>
            <a:ext cx="5576847" cy="4534059"/>
          </a:xfrm>
          <a:prstGeom prst="rect">
            <a:avLst/>
          </a:prstGeom>
        </p:spPr>
      </p:pic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3738118"/>
              </p:ext>
            </p:extLst>
          </p:nvPr>
        </p:nvGraphicFramePr>
        <p:xfrm>
          <a:off x="6182222" y="1166636"/>
          <a:ext cx="3304579" cy="47102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2935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999422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2012222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2997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중요도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efault = Medium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91032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처리 기한 입력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달력 선택 또는 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/mmm/yy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형태로 입력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/>
                      </a:r>
                      <a:b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예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: 17/Jan/20)</a:t>
                      </a:r>
                    </a:p>
                    <a:p>
                      <a:pPr latinLnBrk="1"/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※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시스템 필드이며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JIRA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프로젝트 공통 사용으로 서식 변경 불가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반드시 필요한 경우 별도 사용자 필드 생성으로 조치 가능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2997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필요 시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파일 첨부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849521"/>
                  </a:ext>
                </a:extLst>
              </a:tr>
              <a:tr h="2997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연관 이슈 입력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연관 유형 선택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6810"/>
                  </a:ext>
                </a:extLst>
              </a:tr>
              <a:tr h="2997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5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연관 이슈 입력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번호 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JIRA key)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입력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622137"/>
                  </a:ext>
                </a:extLst>
              </a:tr>
              <a:tr h="2997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6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필요 시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해당 이슈와 연관 있는 계열사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064023"/>
                  </a:ext>
                </a:extLst>
              </a:tr>
              <a:tr h="2997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7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필요 시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해당 이슈와 연관 있는 일정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0291830"/>
                  </a:ext>
                </a:extLst>
              </a:tr>
              <a:tr h="2997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8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필요 시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해당 이슈와 연관 있는 일정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230718"/>
                  </a:ext>
                </a:extLst>
              </a:tr>
              <a:tr h="2997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9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필요 시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해당 이슈와 연관 있는 이관 패턴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073334"/>
                  </a:ext>
                </a:extLst>
              </a:tr>
              <a:tr h="2997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0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필요 시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해당 이슈와 연관 있는 일정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6940259"/>
                  </a:ext>
                </a:extLst>
              </a:tr>
              <a:tr h="50324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연속하여 이슈 등록할 경우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체크 박스 선택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963441"/>
                  </a:ext>
                </a:extLst>
              </a:tr>
              <a:tr h="2997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등록 완료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41872"/>
                  </a:ext>
                </a:extLst>
              </a:tr>
              <a:tr h="2997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등록 취소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0656478"/>
                  </a:ext>
                </a:extLst>
              </a:tr>
            </a:tbl>
          </a:graphicData>
        </a:graphic>
      </p:graphicFrame>
      <p:sp>
        <p:nvSpPr>
          <p:cNvPr id="8" name="직사각형 7"/>
          <p:cNvSpPr/>
          <p:nvPr/>
        </p:nvSpPr>
        <p:spPr>
          <a:xfrm>
            <a:off x="791455" y="1274460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9" name="직사각형 8"/>
          <p:cNvSpPr/>
          <p:nvPr/>
        </p:nvSpPr>
        <p:spPr>
          <a:xfrm>
            <a:off x="791285" y="1549581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0" name="직사각형 9"/>
          <p:cNvSpPr/>
          <p:nvPr/>
        </p:nvSpPr>
        <p:spPr>
          <a:xfrm>
            <a:off x="791283" y="1795298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1" name="직사각형 10"/>
          <p:cNvSpPr/>
          <p:nvPr/>
        </p:nvSpPr>
        <p:spPr>
          <a:xfrm>
            <a:off x="791278" y="2141621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2" name="직사각형 11"/>
          <p:cNvSpPr/>
          <p:nvPr/>
        </p:nvSpPr>
        <p:spPr>
          <a:xfrm>
            <a:off x="791273" y="2402822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5" name="직사각형 14"/>
          <p:cNvSpPr/>
          <p:nvPr/>
        </p:nvSpPr>
        <p:spPr>
          <a:xfrm>
            <a:off x="791269" y="2842017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6" name="직사각형 15"/>
          <p:cNvSpPr/>
          <p:nvPr/>
        </p:nvSpPr>
        <p:spPr>
          <a:xfrm>
            <a:off x="791264" y="3695256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7" name="직사각형 16"/>
          <p:cNvSpPr/>
          <p:nvPr/>
        </p:nvSpPr>
        <p:spPr>
          <a:xfrm>
            <a:off x="791259" y="3952584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8" name="직사각형 17"/>
          <p:cNvSpPr/>
          <p:nvPr/>
        </p:nvSpPr>
        <p:spPr>
          <a:xfrm>
            <a:off x="791254" y="4519595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9" name="직사각형 18"/>
          <p:cNvSpPr/>
          <p:nvPr/>
        </p:nvSpPr>
        <p:spPr>
          <a:xfrm>
            <a:off x="791249" y="4805829"/>
            <a:ext cx="731250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0" name="타원 19"/>
          <p:cNvSpPr/>
          <p:nvPr/>
        </p:nvSpPr>
        <p:spPr>
          <a:xfrm>
            <a:off x="617115" y="127121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1" name="타원 20"/>
          <p:cNvSpPr/>
          <p:nvPr/>
        </p:nvSpPr>
        <p:spPr>
          <a:xfrm>
            <a:off x="617114" y="154401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2" name="타원 21"/>
          <p:cNvSpPr/>
          <p:nvPr/>
        </p:nvSpPr>
        <p:spPr>
          <a:xfrm>
            <a:off x="617114" y="178972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3" name="타원 22"/>
          <p:cNvSpPr/>
          <p:nvPr/>
        </p:nvSpPr>
        <p:spPr>
          <a:xfrm>
            <a:off x="617114" y="213604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4" name="타원 23"/>
          <p:cNvSpPr/>
          <p:nvPr/>
        </p:nvSpPr>
        <p:spPr>
          <a:xfrm>
            <a:off x="617114" y="239917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5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5" name="타원 24"/>
          <p:cNvSpPr/>
          <p:nvPr/>
        </p:nvSpPr>
        <p:spPr>
          <a:xfrm>
            <a:off x="617114" y="2834500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6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6" name="타원 25"/>
          <p:cNvSpPr/>
          <p:nvPr/>
        </p:nvSpPr>
        <p:spPr>
          <a:xfrm>
            <a:off x="617114" y="368966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7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7" name="타원 26"/>
          <p:cNvSpPr/>
          <p:nvPr/>
        </p:nvSpPr>
        <p:spPr>
          <a:xfrm>
            <a:off x="617114" y="394892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8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8" name="타원 27"/>
          <p:cNvSpPr/>
          <p:nvPr/>
        </p:nvSpPr>
        <p:spPr>
          <a:xfrm>
            <a:off x="617114" y="451400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9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9" name="타원 28"/>
          <p:cNvSpPr/>
          <p:nvPr/>
        </p:nvSpPr>
        <p:spPr>
          <a:xfrm>
            <a:off x="617114" y="479829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0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5089828" y="5387864"/>
            <a:ext cx="399100" cy="27565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33" name="타원 32"/>
          <p:cNvSpPr/>
          <p:nvPr/>
        </p:nvSpPr>
        <p:spPr>
          <a:xfrm>
            <a:off x="5046593" y="533282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4211985" y="5443470"/>
            <a:ext cx="819775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7" name="타원 36"/>
          <p:cNvSpPr/>
          <p:nvPr/>
        </p:nvSpPr>
        <p:spPr>
          <a:xfrm>
            <a:off x="4096964" y="536822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5521285" y="5387865"/>
            <a:ext cx="399100" cy="27565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41" name="타원 40"/>
          <p:cNvSpPr/>
          <p:nvPr/>
        </p:nvSpPr>
        <p:spPr>
          <a:xfrm>
            <a:off x="5514810" y="533089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42" name="TextBox 41">
            <a:hlinkClick r:id="rId3" action="ppaction://hlinksldjump"/>
          </p:cNvPr>
          <p:cNvSpPr txBox="1"/>
          <p:nvPr/>
        </p:nvSpPr>
        <p:spPr>
          <a:xfrm flipH="1">
            <a:off x="8477210" y="370576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34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1800" dirty="0"/>
              <a:t>이슈 등록 </a:t>
            </a:r>
            <a:r>
              <a:rPr lang="en-US" altLang="ko-KR" sz="1800" dirty="0"/>
              <a:t>(Ticket </a:t>
            </a:r>
            <a:r>
              <a:rPr lang="ko-KR" altLang="en-US" sz="1800" dirty="0"/>
              <a:t>생성</a:t>
            </a:r>
            <a:r>
              <a:rPr lang="en-US" altLang="ko-KR" sz="1800" dirty="0"/>
              <a:t>)  </a:t>
            </a:r>
            <a:r>
              <a:rPr lang="en-US" altLang="ko-KR" sz="1800" dirty="0" smtClean="0"/>
              <a:t>&lt;3/4</a:t>
            </a:r>
            <a:r>
              <a:rPr lang="en-US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5151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2"/>
          <a:srcRect l="711" t="15231" r="2243" b="930"/>
          <a:stretch/>
        </p:blipFill>
        <p:spPr>
          <a:xfrm>
            <a:off x="423196" y="1162536"/>
            <a:ext cx="5587080" cy="4710545"/>
          </a:xfrm>
          <a:prstGeom prst="rect">
            <a:avLst/>
          </a:prstGeom>
        </p:spPr>
      </p:pic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3876626"/>
              </p:ext>
            </p:extLst>
          </p:nvPr>
        </p:nvGraphicFramePr>
        <p:xfrm>
          <a:off x="6182223" y="1159017"/>
          <a:ext cx="3304579" cy="50891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28449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JIRA </a:t>
                      </a:r>
                      <a:r>
                        <a:rPr lang="ko-KR" altLang="en-US" sz="900" baseline="0" dirty="0" err="1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프로젝트명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 Key</a:t>
                      </a:r>
                    </a:p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제목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JIRA Key = JIRA </a:t>
                      </a:r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번호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16725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편집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 comment /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할당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부가 기능은 필요 시 추가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16725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상태 변경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Workflow </a:t>
                      </a:r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참조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789677"/>
                  </a:ext>
                </a:extLst>
              </a:tr>
              <a:tr h="28449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타입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우선 순위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필수 입력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849521"/>
                  </a:ext>
                </a:extLst>
              </a:tr>
              <a:tr h="98797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레이블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관리번호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서버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Host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명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계열사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용도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단계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Sprint</a:t>
                      </a:r>
                    </a:p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패턴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6R)</a:t>
                      </a: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필요 시 사용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0367574"/>
                  </a:ext>
                </a:extLst>
              </a:tr>
              <a:tr h="1672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진행 상태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Workflow </a:t>
                      </a:r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확인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6810"/>
                  </a:ext>
                </a:extLst>
              </a:tr>
              <a:tr h="28449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5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시스템 필드</a:t>
                      </a:r>
                      <a:r>
                        <a:rPr lang="en-US" altLang="ko-KR" sz="9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1</a:t>
                      </a:r>
                      <a:r>
                        <a:rPr lang="ko-KR" altLang="en-US" sz="9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명만 입력 가능하므로 사용하지 않음</a:t>
                      </a:r>
                      <a:endParaRPr lang="ko-KR" altLang="en-US" sz="900" i="1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622137"/>
                  </a:ext>
                </a:extLst>
              </a:tr>
              <a:tr h="1672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6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제기자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등록자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064023"/>
                  </a:ext>
                </a:extLst>
              </a:tr>
              <a:tr h="1672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7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조치 담당자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다수 입력 가능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0291830"/>
                  </a:ext>
                </a:extLst>
              </a:tr>
              <a:tr h="1672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8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</a:t>
                      </a:r>
                      <a:r>
                        <a:rPr lang="ko-KR" altLang="en-US" sz="900" baseline="0" dirty="0" err="1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연관자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다수 입력 가능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395858"/>
                  </a:ext>
                </a:extLst>
              </a:tr>
              <a:tr h="1672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9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상세 내용 기재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779512"/>
                  </a:ext>
                </a:extLst>
              </a:tr>
              <a:tr h="1672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9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첨부 파일이 있는 경우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230718"/>
                  </a:ext>
                </a:extLst>
              </a:tr>
              <a:tr h="167252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0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조치 완료 기한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073334"/>
                  </a:ext>
                </a:extLst>
              </a:tr>
              <a:tr h="16725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생성일</a:t>
                      </a:r>
                      <a:endParaRPr lang="ko-KR" altLang="en-US" sz="900" i="1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시스템 필드 변경 불가</a:t>
                      </a: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6210"/>
                  </a:ext>
                </a:extLst>
              </a:tr>
              <a:tr h="16725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최근 변경일</a:t>
                      </a:r>
                      <a:endParaRPr lang="ko-KR" altLang="en-US" sz="900" i="1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시스템 필드</a:t>
                      </a:r>
                      <a:r>
                        <a:rPr lang="en-US" altLang="ko-KR" sz="8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8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변경 불가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340138"/>
                  </a:ext>
                </a:extLst>
              </a:tr>
              <a:tr h="16725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해결일</a:t>
                      </a:r>
                      <a:endParaRPr lang="ko-KR" altLang="en-US" sz="900" i="1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시스템 필드</a:t>
                      </a:r>
                      <a:r>
                        <a:rPr lang="en-US" altLang="ko-KR" sz="8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800" i="1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변경 불가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6599161"/>
                  </a:ext>
                </a:extLst>
              </a:tr>
              <a:tr h="16725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Comment :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조치 현황 기재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6940259"/>
                  </a:ext>
                </a:extLst>
              </a:tr>
              <a:tr h="167252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History :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변경 이력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646557"/>
                  </a:ext>
                </a:extLst>
              </a:tr>
              <a:tr h="1672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정렬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: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오름차순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내림차순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963441"/>
                  </a:ext>
                </a:extLst>
              </a:tr>
            </a:tbl>
          </a:graphicData>
        </a:graphic>
      </p:graphicFrame>
      <p:sp>
        <p:nvSpPr>
          <p:cNvPr id="83" name="TextBox 82">
            <a:hlinkClick r:id="rId3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32" name="TextBox 31">
            <a:hlinkClick r:id="rId4" action="ppaction://hlinksldjump"/>
          </p:cNvPr>
          <p:cNvSpPr txBox="1"/>
          <p:nvPr/>
        </p:nvSpPr>
        <p:spPr>
          <a:xfrm flipH="1">
            <a:off x="8478294" y="554449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altLang="ko-KR" sz="813" dirty="0"/>
              <a:t>Workflow</a:t>
            </a:r>
            <a:r>
              <a:rPr lang="ko-KR" altLang="en-US" sz="813" dirty="0"/>
              <a:t> 설명</a:t>
            </a:r>
            <a:endParaRPr lang="en-US" altLang="ko-KR" sz="813" dirty="0"/>
          </a:p>
        </p:txBody>
      </p:sp>
      <p:sp>
        <p:nvSpPr>
          <p:cNvPr id="34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1800" dirty="0"/>
              <a:t>이슈 등록 </a:t>
            </a:r>
            <a:r>
              <a:rPr lang="en-US" altLang="ko-KR" sz="1800" dirty="0"/>
              <a:t>(Ticket </a:t>
            </a:r>
            <a:r>
              <a:rPr lang="ko-KR" altLang="en-US" sz="1800" dirty="0"/>
              <a:t>생성</a:t>
            </a:r>
            <a:r>
              <a:rPr lang="en-US" altLang="ko-KR" sz="1800" dirty="0"/>
              <a:t>)  </a:t>
            </a:r>
            <a:r>
              <a:rPr lang="en-US" altLang="ko-KR" sz="1800" dirty="0" smtClean="0"/>
              <a:t>&lt;4/4</a:t>
            </a:r>
            <a:r>
              <a:rPr lang="en-US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732169" y="1191168"/>
            <a:ext cx="3941431" cy="267292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5" name="타원 34"/>
          <p:cNvSpPr/>
          <p:nvPr/>
        </p:nvSpPr>
        <p:spPr>
          <a:xfrm>
            <a:off x="610888" y="119116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492239" y="1748457"/>
            <a:ext cx="1409827" cy="1261684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7" name="직사각형 36"/>
          <p:cNvSpPr/>
          <p:nvPr/>
        </p:nvSpPr>
        <p:spPr>
          <a:xfrm>
            <a:off x="2253012" y="1849139"/>
            <a:ext cx="1636487" cy="25542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8" name="직사각형 37"/>
          <p:cNvSpPr/>
          <p:nvPr/>
        </p:nvSpPr>
        <p:spPr>
          <a:xfrm>
            <a:off x="4199783" y="1877711"/>
            <a:ext cx="1739059" cy="239045"/>
          </a:xfrm>
          <a:prstGeom prst="rect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0" name="직사각형 39"/>
          <p:cNvSpPr/>
          <p:nvPr/>
        </p:nvSpPr>
        <p:spPr>
          <a:xfrm>
            <a:off x="4195003" y="2383063"/>
            <a:ext cx="1739071" cy="18226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4" name="직사각형 43"/>
          <p:cNvSpPr/>
          <p:nvPr/>
        </p:nvSpPr>
        <p:spPr>
          <a:xfrm>
            <a:off x="492238" y="3122867"/>
            <a:ext cx="3555321" cy="50346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6" name="직사각형 45"/>
          <p:cNvSpPr/>
          <p:nvPr/>
        </p:nvSpPr>
        <p:spPr>
          <a:xfrm>
            <a:off x="492238" y="4527096"/>
            <a:ext cx="3555322" cy="140411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7" name="직사각형 46"/>
          <p:cNvSpPr/>
          <p:nvPr/>
        </p:nvSpPr>
        <p:spPr>
          <a:xfrm>
            <a:off x="3874193" y="4351395"/>
            <a:ext cx="170835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900"/>
          </a:p>
        </p:txBody>
      </p:sp>
      <p:sp>
        <p:nvSpPr>
          <p:cNvPr id="48" name="직사각형 47"/>
          <p:cNvSpPr/>
          <p:nvPr/>
        </p:nvSpPr>
        <p:spPr>
          <a:xfrm>
            <a:off x="4197389" y="2596866"/>
            <a:ext cx="1739071" cy="732122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56" name="직사각형 55"/>
          <p:cNvSpPr/>
          <p:nvPr/>
        </p:nvSpPr>
        <p:spPr>
          <a:xfrm>
            <a:off x="492239" y="1531103"/>
            <a:ext cx="803161" cy="1462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59" name="타원 58"/>
          <p:cNvSpPr/>
          <p:nvPr/>
        </p:nvSpPr>
        <p:spPr>
          <a:xfrm>
            <a:off x="395832" y="152569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2" name="타원 61"/>
          <p:cNvSpPr/>
          <p:nvPr/>
        </p:nvSpPr>
        <p:spPr>
          <a:xfrm>
            <a:off x="395485" y="1734200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4" name="타원 63"/>
          <p:cNvSpPr/>
          <p:nvPr/>
        </p:nvSpPr>
        <p:spPr>
          <a:xfrm>
            <a:off x="2134954" y="1837630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6" name="타원 65"/>
          <p:cNvSpPr/>
          <p:nvPr/>
        </p:nvSpPr>
        <p:spPr>
          <a:xfrm>
            <a:off x="400463" y="305172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9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9" name="타원 68"/>
          <p:cNvSpPr/>
          <p:nvPr/>
        </p:nvSpPr>
        <p:spPr>
          <a:xfrm>
            <a:off x="400461" y="443551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78" name="타원 77"/>
          <p:cNvSpPr/>
          <p:nvPr/>
        </p:nvSpPr>
        <p:spPr>
          <a:xfrm>
            <a:off x="4116029" y="189132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5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2" name="타원 81"/>
          <p:cNvSpPr/>
          <p:nvPr/>
        </p:nvSpPr>
        <p:spPr>
          <a:xfrm>
            <a:off x="4114033" y="2390210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7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4" name="타원 83"/>
          <p:cNvSpPr/>
          <p:nvPr/>
        </p:nvSpPr>
        <p:spPr>
          <a:xfrm>
            <a:off x="4114387" y="277980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8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5" name="타원 84"/>
          <p:cNvSpPr/>
          <p:nvPr/>
        </p:nvSpPr>
        <p:spPr>
          <a:xfrm>
            <a:off x="3743141" y="434778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4197403" y="2134389"/>
            <a:ext cx="1739059" cy="215393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88" name="타원 87"/>
          <p:cNvSpPr/>
          <p:nvPr/>
        </p:nvSpPr>
        <p:spPr>
          <a:xfrm>
            <a:off x="4114979" y="2154319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6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28169" y="4386633"/>
            <a:ext cx="76944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↓</a:t>
            </a:r>
          </a:p>
        </p:txBody>
      </p:sp>
      <p:sp>
        <p:nvSpPr>
          <p:cNvPr id="89" name="직사각형 88"/>
          <p:cNvSpPr/>
          <p:nvPr/>
        </p:nvSpPr>
        <p:spPr>
          <a:xfrm>
            <a:off x="740569" y="4400585"/>
            <a:ext cx="402431" cy="10451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90" name="직사각형 89"/>
          <p:cNvSpPr/>
          <p:nvPr/>
        </p:nvSpPr>
        <p:spPr>
          <a:xfrm>
            <a:off x="492238" y="3720831"/>
            <a:ext cx="3555322" cy="43596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91" name="타원 90"/>
          <p:cNvSpPr/>
          <p:nvPr/>
        </p:nvSpPr>
        <p:spPr>
          <a:xfrm>
            <a:off x="400463" y="370577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0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92" name="직사각형 91"/>
          <p:cNvSpPr/>
          <p:nvPr/>
        </p:nvSpPr>
        <p:spPr>
          <a:xfrm>
            <a:off x="4195003" y="3879864"/>
            <a:ext cx="1739071" cy="46791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93" name="타원 92"/>
          <p:cNvSpPr/>
          <p:nvPr/>
        </p:nvSpPr>
        <p:spPr>
          <a:xfrm>
            <a:off x="4114728" y="387921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0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94" name="직사각형 93"/>
          <p:cNvSpPr/>
          <p:nvPr/>
        </p:nvSpPr>
        <p:spPr>
          <a:xfrm>
            <a:off x="1354191" y="1529708"/>
            <a:ext cx="272203" cy="148428"/>
          </a:xfrm>
          <a:prstGeom prst="rect">
            <a:avLst/>
          </a:prstGeom>
          <a:solidFill>
            <a:schemeClr val="accent2">
              <a:alpha val="5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</p:spTree>
    <p:extLst>
      <p:ext uri="{BB962C8B-B14F-4D97-AF65-F5344CB8AC3E}">
        <p14:creationId xmlns:p14="http://schemas.microsoft.com/office/powerpoint/2010/main" val="3187839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Box 82">
            <a:hlinkClick r:id="rId2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34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1800" dirty="0" smtClean="0"/>
              <a:t>부가 기능 </a:t>
            </a:r>
            <a:r>
              <a:rPr lang="en-US" altLang="ko-KR" sz="1800" dirty="0" smtClean="0"/>
              <a:t>(More)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542617"/>
              </p:ext>
            </p:extLst>
          </p:nvPr>
        </p:nvGraphicFramePr>
        <p:xfrm>
          <a:off x="6181725" y="1168077"/>
          <a:ext cx="3305175" cy="4708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90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616300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389185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67269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파일 첨부</a:t>
                      </a:r>
                      <a:endParaRPr lang="en-US" altLang="ko-KR" sz="10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icket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에 종속된 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Sub-Task 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생성</a:t>
                      </a:r>
                      <a:endParaRPr lang="en-US" altLang="ko-KR" sz="10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icket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을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다른 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icket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에 종속된 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Sub-Task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로 변경</a:t>
                      </a:r>
                      <a:endParaRPr lang="en-US" altLang="ko-KR" sz="10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849521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프로젝트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타입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등 변경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6810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5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icket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과 연관된 이슈 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Link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622137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6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icket Clone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icket 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복사하여 사용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064023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7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Label 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생성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수정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0291830"/>
                  </a:ext>
                </a:extLst>
              </a:tr>
            </a:tbl>
          </a:graphicData>
        </a:graphic>
      </p:graphicFrame>
      <p:pic>
        <p:nvPicPr>
          <p:cNvPr id="41" name="그림 40"/>
          <p:cNvPicPr>
            <a:picLocks noChangeAspect="1"/>
          </p:cNvPicPr>
          <p:nvPr/>
        </p:nvPicPr>
        <p:blipFill rotWithShape="1">
          <a:blip r:embed="rId3"/>
          <a:srcRect l="18590" t="21564" r="76898" b="75901"/>
          <a:stretch/>
        </p:blipFill>
        <p:spPr>
          <a:xfrm>
            <a:off x="1383985" y="1173763"/>
            <a:ext cx="569912" cy="254794"/>
          </a:xfrm>
          <a:prstGeom prst="rect">
            <a:avLst/>
          </a:prstGeom>
        </p:spPr>
      </p:pic>
      <p:pic>
        <p:nvPicPr>
          <p:cNvPr id="42" name="그림 41"/>
          <p:cNvPicPr>
            <a:picLocks noChangeAspect="1"/>
          </p:cNvPicPr>
          <p:nvPr/>
        </p:nvPicPr>
        <p:blipFill rotWithShape="1">
          <a:blip r:embed="rId3"/>
          <a:srcRect l="18634" t="24289" r="70551" b="33745"/>
          <a:stretch/>
        </p:blipFill>
        <p:spPr>
          <a:xfrm>
            <a:off x="1386364" y="1488086"/>
            <a:ext cx="1366044" cy="4217194"/>
          </a:xfrm>
          <a:prstGeom prst="rect">
            <a:avLst/>
          </a:prstGeom>
        </p:spPr>
      </p:pic>
      <p:sp>
        <p:nvSpPr>
          <p:cNvPr id="43" name="직사각형 42"/>
          <p:cNvSpPr/>
          <p:nvPr/>
        </p:nvSpPr>
        <p:spPr>
          <a:xfrm>
            <a:off x="1373264" y="3828258"/>
            <a:ext cx="1285816" cy="18000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/>
          </a:p>
        </p:txBody>
      </p:sp>
      <p:sp>
        <p:nvSpPr>
          <p:cNvPr id="45" name="직사각형 44"/>
          <p:cNvSpPr/>
          <p:nvPr/>
        </p:nvSpPr>
        <p:spPr>
          <a:xfrm>
            <a:off x="1372353" y="4401660"/>
            <a:ext cx="1285816" cy="18000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/>
          </a:p>
        </p:txBody>
      </p:sp>
      <p:sp>
        <p:nvSpPr>
          <p:cNvPr id="49" name="직사각형 48"/>
          <p:cNvSpPr/>
          <p:nvPr/>
        </p:nvSpPr>
        <p:spPr>
          <a:xfrm>
            <a:off x="1372351" y="4642164"/>
            <a:ext cx="1285816" cy="18000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/>
          </a:p>
        </p:txBody>
      </p:sp>
      <p:sp>
        <p:nvSpPr>
          <p:cNvPr id="50" name="직사각형 49"/>
          <p:cNvSpPr/>
          <p:nvPr/>
        </p:nvSpPr>
        <p:spPr>
          <a:xfrm>
            <a:off x="1372349" y="4896954"/>
            <a:ext cx="1285816" cy="18000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/>
          </a:p>
        </p:txBody>
      </p:sp>
      <p:sp>
        <p:nvSpPr>
          <p:cNvPr id="51" name="직사각형 50"/>
          <p:cNvSpPr/>
          <p:nvPr/>
        </p:nvSpPr>
        <p:spPr>
          <a:xfrm>
            <a:off x="1374728" y="5151744"/>
            <a:ext cx="1285816" cy="18000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/>
          </a:p>
        </p:txBody>
      </p:sp>
      <p:sp>
        <p:nvSpPr>
          <p:cNvPr id="53" name="직사각형 52"/>
          <p:cNvSpPr/>
          <p:nvPr/>
        </p:nvSpPr>
        <p:spPr>
          <a:xfrm>
            <a:off x="1373264" y="4083051"/>
            <a:ext cx="1285816" cy="18000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/>
          </a:p>
        </p:txBody>
      </p:sp>
      <p:sp>
        <p:nvSpPr>
          <p:cNvPr id="54" name="직사각형 53"/>
          <p:cNvSpPr/>
          <p:nvPr/>
        </p:nvSpPr>
        <p:spPr>
          <a:xfrm>
            <a:off x="1373262" y="2692378"/>
            <a:ext cx="1285816" cy="18000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/>
          </a:p>
        </p:txBody>
      </p:sp>
      <p:sp>
        <p:nvSpPr>
          <p:cNvPr id="55" name="타원 54"/>
          <p:cNvSpPr/>
          <p:nvPr/>
        </p:nvSpPr>
        <p:spPr>
          <a:xfrm>
            <a:off x="1279106" y="270466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8" name="타원 57"/>
          <p:cNvSpPr/>
          <p:nvPr/>
        </p:nvSpPr>
        <p:spPr>
          <a:xfrm>
            <a:off x="1279947" y="383856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0" name="타원 59"/>
          <p:cNvSpPr/>
          <p:nvPr/>
        </p:nvSpPr>
        <p:spPr>
          <a:xfrm>
            <a:off x="1282775" y="410006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1" name="타원 60"/>
          <p:cNvSpPr/>
          <p:nvPr/>
        </p:nvSpPr>
        <p:spPr>
          <a:xfrm>
            <a:off x="1274939" y="4413409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3" name="타원 62"/>
          <p:cNvSpPr/>
          <p:nvPr/>
        </p:nvSpPr>
        <p:spPr>
          <a:xfrm>
            <a:off x="1276889" y="465346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5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5" name="타원 64"/>
          <p:cNvSpPr/>
          <p:nvPr/>
        </p:nvSpPr>
        <p:spPr>
          <a:xfrm>
            <a:off x="1284418" y="516822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7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7" name="타원 66"/>
          <p:cNvSpPr/>
          <p:nvPr/>
        </p:nvSpPr>
        <p:spPr>
          <a:xfrm>
            <a:off x="1279014" y="491328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6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27321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299817"/>
              </p:ext>
            </p:extLst>
          </p:nvPr>
        </p:nvGraphicFramePr>
        <p:xfrm>
          <a:off x="6182222" y="1153277"/>
          <a:ext cx="3304579" cy="227572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5689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상단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Issue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메뉴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5689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Search for issues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&gt; Search</a:t>
                      </a: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5689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원하는 조건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3538447"/>
                  </a:ext>
                </a:extLst>
              </a:tr>
              <a:tr h="5689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af-ZA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저장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9654294"/>
                  </a:ext>
                </a:extLst>
              </a:tr>
            </a:tbl>
          </a:graphicData>
        </a:graphic>
      </p:graphicFrame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2"/>
          <a:srcRect t="10821" r="34997" b="58573"/>
          <a:stretch/>
        </p:blipFill>
        <p:spPr>
          <a:xfrm>
            <a:off x="419303" y="1164208"/>
            <a:ext cx="5586211" cy="1877400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>
          <a:xfrm>
            <a:off x="2586837" y="1165729"/>
            <a:ext cx="363681" cy="20810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2" name="타원 11"/>
          <p:cNvSpPr/>
          <p:nvPr/>
        </p:nvSpPr>
        <p:spPr>
          <a:xfrm>
            <a:off x="2458934" y="113926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2581032" y="1555566"/>
            <a:ext cx="680984" cy="14214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4" name="타원 13"/>
          <p:cNvSpPr/>
          <p:nvPr/>
        </p:nvSpPr>
        <p:spPr>
          <a:xfrm>
            <a:off x="2455065" y="1539759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 rotWithShape="1">
          <a:blip r:embed="rId3"/>
          <a:srcRect t="14380" r="46410" b="51347"/>
          <a:stretch/>
        </p:blipFill>
        <p:spPr>
          <a:xfrm>
            <a:off x="422600" y="3157694"/>
            <a:ext cx="5582913" cy="2539538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789870" y="3601762"/>
            <a:ext cx="4160603" cy="20810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7" name="타원 16"/>
          <p:cNvSpPr/>
          <p:nvPr/>
        </p:nvSpPr>
        <p:spPr>
          <a:xfrm>
            <a:off x="646488" y="357142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1264165" y="3237021"/>
            <a:ext cx="464648" cy="23096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9" name="타원 18"/>
          <p:cNvSpPr/>
          <p:nvPr/>
        </p:nvSpPr>
        <p:spPr>
          <a:xfrm>
            <a:off x="1170809" y="321156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0" name="TextBox 19">
            <a:hlinkClick r:id="rId4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21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7154578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af-ZA" altLang="ko-KR" sz="1800" dirty="0"/>
              <a:t>Filter</a:t>
            </a:r>
            <a:r>
              <a:rPr lang="ko-KR" altLang="en-US" sz="1800" dirty="0"/>
              <a:t> 생성 </a:t>
            </a:r>
            <a:r>
              <a:rPr lang="en-US" altLang="ko-KR" sz="1800" dirty="0"/>
              <a:t>/</a:t>
            </a:r>
            <a:r>
              <a:rPr lang="ko-KR" altLang="en-US" sz="1800" dirty="0"/>
              <a:t> 저장 </a:t>
            </a:r>
            <a:r>
              <a:rPr lang="en-US" altLang="ko-KR" sz="1800" dirty="0"/>
              <a:t>/ </a:t>
            </a:r>
            <a:r>
              <a:rPr lang="ko-KR" altLang="en-US" sz="1800" dirty="0"/>
              <a:t>공유 </a:t>
            </a:r>
            <a:r>
              <a:rPr lang="en-US" altLang="ko-KR" sz="1800" dirty="0"/>
              <a:t>: </a:t>
            </a:r>
            <a:r>
              <a:rPr lang="ko-KR" altLang="en-US" sz="1800" dirty="0"/>
              <a:t>원하는 조건에 대한 결과 값</a:t>
            </a:r>
            <a:r>
              <a:rPr lang="en-US" altLang="ko-KR" sz="1800" dirty="0"/>
              <a:t>(Ticket) </a:t>
            </a:r>
            <a:r>
              <a:rPr lang="ko-KR" altLang="en-US" sz="1800" dirty="0"/>
              <a:t>검색  </a:t>
            </a:r>
            <a:r>
              <a:rPr lang="en-US" altLang="ko-KR" sz="1800" dirty="0"/>
              <a:t>&lt;1/2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47407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7460300"/>
              </p:ext>
            </p:extLst>
          </p:nvPr>
        </p:nvGraphicFramePr>
        <p:xfrm>
          <a:off x="6182223" y="1157579"/>
          <a:ext cx="3304579" cy="120630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60315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우측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dvance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60315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JQL(Jira SQL)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직접 입력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&gt; Search</a:t>
                      </a: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사용자가 원하는 조건 입력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278224"/>
                  </a:ext>
                </a:extLst>
              </a:tr>
            </a:tbl>
          </a:graphicData>
        </a:graphic>
      </p:graphicFrame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2"/>
          <a:srcRect l="2" t="10696" r="35225" b="61673"/>
          <a:stretch/>
        </p:blipFill>
        <p:spPr>
          <a:xfrm>
            <a:off x="421946" y="1163803"/>
            <a:ext cx="5576934" cy="169206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>
          <a:xfrm>
            <a:off x="4560441" y="1738580"/>
            <a:ext cx="437254" cy="20810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2" name="타원 11"/>
          <p:cNvSpPr/>
          <p:nvPr/>
        </p:nvSpPr>
        <p:spPr>
          <a:xfrm>
            <a:off x="4490736" y="165151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 rotWithShape="1">
          <a:blip r:embed="rId3"/>
          <a:srcRect t="10796" b="45897"/>
          <a:stretch/>
        </p:blipFill>
        <p:spPr>
          <a:xfrm>
            <a:off x="414193" y="3273291"/>
            <a:ext cx="5583738" cy="2415074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627350" y="3790078"/>
            <a:ext cx="4160603" cy="17199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7" name="타원 16"/>
          <p:cNvSpPr/>
          <p:nvPr/>
        </p:nvSpPr>
        <p:spPr>
          <a:xfrm>
            <a:off x="499446" y="3777799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8" name="TextBox 17">
            <a:hlinkClick r:id="rId4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4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7172685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af-ZA" altLang="ko-KR" sz="1800" dirty="0"/>
              <a:t>Filter</a:t>
            </a:r>
            <a:r>
              <a:rPr lang="ko-KR" altLang="en-US" sz="1800" dirty="0"/>
              <a:t> 생성 </a:t>
            </a:r>
            <a:r>
              <a:rPr lang="en-US" altLang="ko-KR" sz="1800" dirty="0"/>
              <a:t>/</a:t>
            </a:r>
            <a:r>
              <a:rPr lang="ko-KR" altLang="en-US" sz="1800" dirty="0"/>
              <a:t> 저장 </a:t>
            </a:r>
            <a:r>
              <a:rPr lang="en-US" altLang="ko-KR" sz="1800" dirty="0"/>
              <a:t>/ </a:t>
            </a:r>
            <a:r>
              <a:rPr lang="ko-KR" altLang="en-US" sz="1800" dirty="0"/>
              <a:t>공유 </a:t>
            </a:r>
            <a:r>
              <a:rPr lang="en-US" altLang="ko-KR" sz="1800" dirty="0"/>
              <a:t>: </a:t>
            </a:r>
            <a:r>
              <a:rPr lang="ko-KR" altLang="en-US" sz="1800" dirty="0"/>
              <a:t>원하는 조건에 대한 결과 값</a:t>
            </a:r>
            <a:r>
              <a:rPr lang="en-US" altLang="ko-KR" sz="1800" dirty="0"/>
              <a:t>(Ticket) </a:t>
            </a:r>
            <a:r>
              <a:rPr lang="ko-KR" altLang="en-US" sz="1800" dirty="0"/>
              <a:t>검색  </a:t>
            </a:r>
            <a:r>
              <a:rPr lang="en-US" altLang="ko-KR" sz="1800" dirty="0" smtClean="0"/>
              <a:t>&lt;2/2</a:t>
            </a:r>
            <a:r>
              <a:rPr lang="en-US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04407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t="10587" b="49558"/>
          <a:stretch/>
        </p:blipFill>
        <p:spPr>
          <a:xfrm>
            <a:off x="414737" y="1170072"/>
            <a:ext cx="5592122" cy="2222533"/>
          </a:xfrm>
          <a:prstGeom prst="rect">
            <a:avLst/>
          </a:prstGeom>
        </p:spPr>
      </p:pic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7715275"/>
              </p:ext>
            </p:extLst>
          </p:nvPr>
        </p:nvGraphicFramePr>
        <p:xfrm>
          <a:off x="6182223" y="1166638"/>
          <a:ext cx="3304579" cy="11797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58988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보기 변경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: List View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목록으로 보기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58988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보기 변경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: Detail View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icket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내용 함께 보기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/>
        </p:nvSpPr>
        <p:spPr>
          <a:xfrm>
            <a:off x="5550843" y="1705721"/>
            <a:ext cx="319205" cy="17199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4" name="타원 13"/>
          <p:cNvSpPr/>
          <p:nvPr/>
        </p:nvSpPr>
        <p:spPr>
          <a:xfrm>
            <a:off x="5412289" y="1689699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3"/>
          <a:srcRect t="10449" b="52134"/>
          <a:stretch/>
        </p:blipFill>
        <p:spPr>
          <a:xfrm>
            <a:off x="413858" y="3618196"/>
            <a:ext cx="5592122" cy="2086651"/>
          </a:xfrm>
          <a:prstGeom prst="rect">
            <a:avLst/>
          </a:prstGeom>
        </p:spPr>
      </p:pic>
      <p:sp>
        <p:nvSpPr>
          <p:cNvPr id="10" name="직사각형 9"/>
          <p:cNvSpPr/>
          <p:nvPr/>
        </p:nvSpPr>
        <p:spPr>
          <a:xfrm>
            <a:off x="5084516" y="2034634"/>
            <a:ext cx="752671" cy="17199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1" name="직사각형 10"/>
          <p:cNvSpPr/>
          <p:nvPr/>
        </p:nvSpPr>
        <p:spPr>
          <a:xfrm>
            <a:off x="5637908" y="4159649"/>
            <a:ext cx="319205" cy="17199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2" name="타원 11"/>
          <p:cNvSpPr/>
          <p:nvPr/>
        </p:nvSpPr>
        <p:spPr>
          <a:xfrm>
            <a:off x="5499353" y="414556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177384" y="4333778"/>
            <a:ext cx="752671" cy="17199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6" name="TextBox 15">
            <a:hlinkClick r:id="rId4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7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af-ZA" altLang="ko-KR" sz="1800" dirty="0"/>
              <a:t>Filter</a:t>
            </a:r>
            <a:r>
              <a:rPr lang="ko-KR" altLang="en-US" sz="1800" dirty="0"/>
              <a:t> 보기  </a:t>
            </a:r>
            <a:r>
              <a:rPr lang="en-US" altLang="ko-KR" sz="1800" dirty="0"/>
              <a:t>&lt;</a:t>
            </a:r>
            <a:r>
              <a:rPr lang="en-US" altLang="ko-KR" sz="1800" dirty="0" smtClean="0"/>
              <a:t>1/2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97601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6576193"/>
              </p:ext>
            </p:extLst>
          </p:nvPr>
        </p:nvGraphicFramePr>
        <p:xfrm>
          <a:off x="6182223" y="1166639"/>
          <a:ext cx="3304579" cy="47102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2223991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780952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9420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List View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에서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화면에 보이는 항목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Field)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추가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삭제 메뉴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9420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My Defaults :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사용자의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결과 화면에 보이는 기본 항목 설정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5163664"/>
                  </a:ext>
                </a:extLst>
              </a:tr>
              <a:tr h="9420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 :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사용자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&amp;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의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결과 화면에 보이는 기본 항목 설정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630741"/>
                  </a:ext>
                </a:extLst>
              </a:tr>
              <a:tr h="9420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System :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시스템 설정이므로 사용 불가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288297"/>
                  </a:ext>
                </a:extLst>
              </a:tr>
              <a:tr h="9420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5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화면에 보이는 항목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Field)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위치 변경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: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항목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Field)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명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rag &amp; Drop</a:t>
                      </a: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</a:tbl>
          </a:graphicData>
        </a:graphic>
      </p:graphicFrame>
      <p:sp>
        <p:nvSpPr>
          <p:cNvPr id="16" name="TextBox 15">
            <a:hlinkClick r:id="rId2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7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af-ZA" altLang="ko-KR" sz="1800" dirty="0"/>
              <a:t>Filter</a:t>
            </a:r>
            <a:r>
              <a:rPr lang="ko-KR" altLang="en-US" sz="1800" dirty="0"/>
              <a:t> 보기  </a:t>
            </a:r>
            <a:r>
              <a:rPr lang="en-US" altLang="ko-KR" sz="1800" dirty="0" smtClean="0"/>
              <a:t>&lt;2/2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5540257" y="1990434"/>
            <a:ext cx="386240" cy="12921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3"/>
          <a:srcRect l="2852" t="10935" r="1239" b="613"/>
          <a:stretch/>
        </p:blipFill>
        <p:spPr>
          <a:xfrm>
            <a:off x="427813" y="1167183"/>
            <a:ext cx="5604687" cy="4677357"/>
          </a:xfrm>
          <a:prstGeom prst="rect">
            <a:avLst/>
          </a:prstGeom>
        </p:spPr>
      </p:pic>
      <p:sp>
        <p:nvSpPr>
          <p:cNvPr id="19" name="직사각형 18"/>
          <p:cNvSpPr/>
          <p:nvPr/>
        </p:nvSpPr>
        <p:spPr>
          <a:xfrm>
            <a:off x="5567512" y="1995894"/>
            <a:ext cx="407044" cy="181023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0" name="타원 19"/>
          <p:cNvSpPr/>
          <p:nvPr/>
        </p:nvSpPr>
        <p:spPr>
          <a:xfrm>
            <a:off x="5440204" y="197446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4835228" y="2392274"/>
            <a:ext cx="351127" cy="17199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2" name="직사각형 21"/>
          <p:cNvSpPr/>
          <p:nvPr/>
        </p:nvSpPr>
        <p:spPr>
          <a:xfrm>
            <a:off x="5214110" y="2392272"/>
            <a:ext cx="198202" cy="17199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3" name="직사각형 22"/>
          <p:cNvSpPr/>
          <p:nvPr/>
        </p:nvSpPr>
        <p:spPr>
          <a:xfrm>
            <a:off x="5447731" y="2392270"/>
            <a:ext cx="198202" cy="17199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4" name="타원 23"/>
          <p:cNvSpPr/>
          <p:nvPr/>
        </p:nvSpPr>
        <p:spPr>
          <a:xfrm>
            <a:off x="4938068" y="226656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5" name="타원 24"/>
          <p:cNvSpPr/>
          <p:nvPr/>
        </p:nvSpPr>
        <p:spPr>
          <a:xfrm>
            <a:off x="5214110" y="227183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6" name="타원 25"/>
          <p:cNvSpPr/>
          <p:nvPr/>
        </p:nvSpPr>
        <p:spPr>
          <a:xfrm>
            <a:off x="5485284" y="226656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451746" y="2182987"/>
            <a:ext cx="4272653" cy="14960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8" name="타원 27"/>
          <p:cNvSpPr/>
          <p:nvPr/>
        </p:nvSpPr>
        <p:spPr>
          <a:xfrm>
            <a:off x="324439" y="214584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5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88189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5990587"/>
              </p:ext>
            </p:extLst>
          </p:nvPr>
        </p:nvGraphicFramePr>
        <p:xfrm>
          <a:off x="6182223" y="1166633"/>
          <a:ext cx="3304579" cy="11864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5932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상단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Issue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메뉴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5932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Manage filters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</a:tbl>
          </a:graphicData>
        </a:graphic>
      </p:graphicFrame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2"/>
          <a:srcRect t="10768" r="35049" b="15289"/>
          <a:stretch/>
        </p:blipFill>
        <p:spPr>
          <a:xfrm>
            <a:off x="422475" y="1166633"/>
            <a:ext cx="5581774" cy="4535945"/>
          </a:xfrm>
          <a:prstGeom prst="rect">
            <a:avLst/>
          </a:prstGeom>
        </p:spPr>
      </p:pic>
      <p:sp>
        <p:nvSpPr>
          <p:cNvPr id="9" name="직사각형 8"/>
          <p:cNvSpPr/>
          <p:nvPr/>
        </p:nvSpPr>
        <p:spPr>
          <a:xfrm>
            <a:off x="2554733" y="1148785"/>
            <a:ext cx="464648" cy="23096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0" name="타원 9"/>
          <p:cNvSpPr/>
          <p:nvPr/>
        </p:nvSpPr>
        <p:spPr>
          <a:xfrm>
            <a:off x="2461376" y="112332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2572313" y="5268750"/>
            <a:ext cx="680984" cy="14214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2" name="타원 11"/>
          <p:cNvSpPr/>
          <p:nvPr/>
        </p:nvSpPr>
        <p:spPr>
          <a:xfrm>
            <a:off x="2446346" y="525294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4" name="TextBox 13">
            <a:hlinkClick r:id="rId3" action="ppaction://hlinksldjump"/>
          </p:cNvPr>
          <p:cNvSpPr txBox="1"/>
          <p:nvPr/>
        </p:nvSpPr>
        <p:spPr>
          <a:xfrm flipH="1">
            <a:off x="8477210" y="370574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3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1800" dirty="0"/>
              <a:t>생성된 </a:t>
            </a:r>
            <a:r>
              <a:rPr lang="af-ZA" altLang="ko-KR" sz="1800" dirty="0"/>
              <a:t>Filter</a:t>
            </a:r>
            <a:r>
              <a:rPr lang="ko-KR" altLang="en-US" sz="1800" dirty="0"/>
              <a:t> 수정 및 공유  </a:t>
            </a:r>
            <a:r>
              <a:rPr lang="en-US" altLang="ko-KR" sz="1800" dirty="0"/>
              <a:t>&lt;1/2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80869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2"/>
          <a:srcRect t="10569" r="1451" b="59199"/>
          <a:stretch/>
        </p:blipFill>
        <p:spPr>
          <a:xfrm>
            <a:off x="419550" y="1168760"/>
            <a:ext cx="5585963" cy="1587820"/>
          </a:xfrm>
          <a:prstGeom prst="rect">
            <a:avLst/>
          </a:prstGeom>
        </p:spPr>
      </p:pic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6652066"/>
              </p:ext>
            </p:extLst>
          </p:nvPr>
        </p:nvGraphicFramePr>
        <p:xfrm>
          <a:off x="6182223" y="1166641"/>
          <a:ext cx="3304579" cy="4710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4710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좌측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My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타 사용자가 생성한 </a:t>
                      </a:r>
                      <a:r>
                        <a:rPr lang="af-ZA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는 수정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삭제 불가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4710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수정할 </a:t>
                      </a:r>
                      <a:r>
                        <a:rPr lang="af-ZA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좌측의 설정 선택</a:t>
                      </a:r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수정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삭제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4710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af-ZA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이름 수정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774583"/>
                  </a:ext>
                </a:extLst>
              </a:tr>
              <a:tr h="4710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설명 기재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필요 시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8630899"/>
                  </a:ext>
                </a:extLst>
              </a:tr>
              <a:tr h="4710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5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보기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Read)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권한 부여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유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049669"/>
                  </a:ext>
                </a:extLst>
              </a:tr>
              <a:tr h="4710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6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보기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Read)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사용자 선택 후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dd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7645307"/>
                  </a:ext>
                </a:extLst>
              </a:tr>
              <a:tr h="4710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7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쓰기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Write)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권한 부여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유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127695"/>
                  </a:ext>
                </a:extLst>
              </a:tr>
              <a:tr h="4710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8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쓰기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Write)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사용자 선택 후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dd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829316"/>
                  </a:ext>
                </a:extLst>
              </a:tr>
              <a:tr h="4710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9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변경 사항 저장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830433"/>
                  </a:ext>
                </a:extLst>
              </a:tr>
              <a:tr h="4710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0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수정 취소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419479"/>
                  </a:ext>
                </a:extLst>
              </a:tr>
            </a:tbl>
          </a:graphicData>
        </a:graphic>
      </p:graphicFrame>
      <p:sp>
        <p:nvSpPr>
          <p:cNvPr id="9" name="직사각형 8"/>
          <p:cNvSpPr/>
          <p:nvPr/>
        </p:nvSpPr>
        <p:spPr>
          <a:xfrm>
            <a:off x="504356" y="1882758"/>
            <a:ext cx="294058" cy="14214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0" name="타원 9"/>
          <p:cNvSpPr/>
          <p:nvPr/>
        </p:nvSpPr>
        <p:spPr>
          <a:xfrm>
            <a:off x="378388" y="186695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5444481" y="2211064"/>
            <a:ext cx="309514" cy="1787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2" name="타원 11"/>
          <p:cNvSpPr/>
          <p:nvPr/>
        </p:nvSpPr>
        <p:spPr>
          <a:xfrm>
            <a:off x="5318516" y="219405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3"/>
          <a:srcRect t="16074" r="15550" b="43428"/>
          <a:stretch/>
        </p:blipFill>
        <p:spPr>
          <a:xfrm>
            <a:off x="414736" y="3213184"/>
            <a:ext cx="5583038" cy="2484240"/>
          </a:xfrm>
          <a:prstGeom prst="rect">
            <a:avLst/>
          </a:prstGeom>
        </p:spPr>
      </p:pic>
      <p:sp>
        <p:nvSpPr>
          <p:cNvPr id="15" name="직사각형 14"/>
          <p:cNvSpPr/>
          <p:nvPr/>
        </p:nvSpPr>
        <p:spPr>
          <a:xfrm>
            <a:off x="1262470" y="3508088"/>
            <a:ext cx="1361073" cy="189994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6" name="타원 15"/>
          <p:cNvSpPr/>
          <p:nvPr/>
        </p:nvSpPr>
        <p:spPr>
          <a:xfrm>
            <a:off x="1136502" y="348954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784401" y="4449156"/>
            <a:ext cx="459654" cy="32330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8" name="타원 17"/>
          <p:cNvSpPr/>
          <p:nvPr/>
        </p:nvSpPr>
        <p:spPr>
          <a:xfrm>
            <a:off x="633274" y="444425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5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784871" y="4873136"/>
            <a:ext cx="459654" cy="32330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0" name="타원 19"/>
          <p:cNvSpPr/>
          <p:nvPr/>
        </p:nvSpPr>
        <p:spPr>
          <a:xfrm>
            <a:off x="635688" y="4868239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7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3643315" y="4630322"/>
            <a:ext cx="313950" cy="14214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2" name="타원 21"/>
          <p:cNvSpPr/>
          <p:nvPr/>
        </p:nvSpPr>
        <p:spPr>
          <a:xfrm>
            <a:off x="3512205" y="462224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6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3643785" y="5054303"/>
            <a:ext cx="313950" cy="14214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4" name="타원 23"/>
          <p:cNvSpPr/>
          <p:nvPr/>
        </p:nvSpPr>
        <p:spPr>
          <a:xfrm>
            <a:off x="3514619" y="504623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8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1283534" y="5356037"/>
            <a:ext cx="259463" cy="20810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6" name="타원 25"/>
          <p:cNvSpPr/>
          <p:nvPr/>
        </p:nvSpPr>
        <p:spPr>
          <a:xfrm>
            <a:off x="1192061" y="5280000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9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1581489" y="5356039"/>
            <a:ext cx="259463" cy="20810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8" name="타원 27"/>
          <p:cNvSpPr/>
          <p:nvPr/>
        </p:nvSpPr>
        <p:spPr>
          <a:xfrm>
            <a:off x="1557719" y="527928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0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0" name="TextBox 29">
            <a:hlinkClick r:id="rId4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29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1800" dirty="0"/>
              <a:t>생성된 </a:t>
            </a:r>
            <a:r>
              <a:rPr lang="af-ZA" altLang="ko-KR" sz="1800" dirty="0"/>
              <a:t>Filter</a:t>
            </a:r>
            <a:r>
              <a:rPr lang="ko-KR" altLang="en-US" sz="1800" dirty="0"/>
              <a:t> 수정 및 공유  </a:t>
            </a:r>
            <a:r>
              <a:rPr lang="en-US" altLang="ko-KR" sz="1800" dirty="0" smtClean="0"/>
              <a:t>&lt;2/2</a:t>
            </a:r>
            <a:r>
              <a:rPr lang="en-US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1264440" y="3746891"/>
            <a:ext cx="1361073" cy="45872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2" name="타원 31"/>
          <p:cNvSpPr/>
          <p:nvPr/>
        </p:nvSpPr>
        <p:spPr>
          <a:xfrm>
            <a:off x="1138472" y="373787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02532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8275481"/>
              </p:ext>
            </p:extLst>
          </p:nvPr>
        </p:nvGraphicFramePr>
        <p:xfrm>
          <a:off x="419200" y="1320540"/>
          <a:ext cx="9067601" cy="488498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05882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067991">
                  <a:extLst>
                    <a:ext uri="{9D8B030D-6E8A-4147-A177-3AD203B41FA5}">
                      <a16:colId xmlns:a16="http://schemas.microsoft.com/office/drawing/2014/main" val="2905183635"/>
                    </a:ext>
                  </a:extLst>
                </a:gridCol>
                <a:gridCol w="29937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2846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항목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페이지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비고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8884715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JIRA 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접속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언어 변경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 ~ 5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674252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JIRA </a:t>
                      </a:r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관리 개요 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6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9837222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관리 </a:t>
                      </a:r>
                      <a:r>
                        <a:rPr lang="af-ZA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Workflow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7 ~ 8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819208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등록 </a:t>
                      </a:r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Ticket 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생성</a:t>
                      </a:r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)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9 ~ 1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990677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부가 기능 </a:t>
                      </a:r>
                      <a:r>
                        <a:rPr lang="en-US" altLang="ko-KR" sz="10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More)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2713967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af-ZA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생성 </a:t>
                      </a:r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저장 </a:t>
                      </a:r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 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유 </a:t>
                      </a:r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: 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원하는 조건에 대한 결과 값</a:t>
                      </a:r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Ticket) 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검색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4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~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5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6544044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af-ZA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보기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6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~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7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061160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생성된 </a:t>
                      </a:r>
                      <a:r>
                        <a:rPr lang="af-ZA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수정 및 공유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8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~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9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387720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생성 </a:t>
                      </a:r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저장 </a:t>
                      </a:r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 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유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0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~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810770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생성 </a:t>
                      </a:r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&gt; Layout 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변경 </a:t>
                      </a:r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 Gadget 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추가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3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~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6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332064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에서 </a:t>
                      </a:r>
                      <a:r>
                        <a:rPr lang="af-ZA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목록 보기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7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7830896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af-ZA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목록에서 </a:t>
                      </a:r>
                      <a:r>
                        <a:rPr lang="en-US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icket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별 상세 내용 보기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8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206014"/>
                  </a:ext>
                </a:extLst>
              </a:tr>
              <a:tr h="328596">
                <a:tc>
                  <a:txBody>
                    <a:bodyPr/>
                    <a:lstStyle/>
                    <a:p>
                      <a:pPr latinLnBrk="1"/>
                      <a:r>
                        <a:rPr lang="af-ZA" altLang="ko-KR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100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목록 다운로드</a:t>
                      </a:r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9~3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87750" marR="87750" marT="29250" marB="2925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5047838"/>
                  </a:ext>
                </a:extLst>
              </a:tr>
            </a:tbl>
          </a:graphicData>
        </a:graphic>
      </p:graphicFrame>
      <p:sp>
        <p:nvSpPr>
          <p:cNvPr id="6" name="TextBox 5">
            <a:hlinkClick r:id="rId2" action="ppaction://hlinksldjump"/>
          </p:cNvPr>
          <p:cNvSpPr txBox="1"/>
          <p:nvPr/>
        </p:nvSpPr>
        <p:spPr>
          <a:xfrm>
            <a:off x="7268651" y="1671147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/>
          <a:p>
            <a:pPr algn="ctr"/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해당 페이지로 이동</a:t>
            </a:r>
            <a:endParaRPr lang="en-US" altLang="ko-KR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" name="TextBox 7">
            <a:hlinkClick r:id="rId3" action="ppaction://hlinksldjump"/>
          </p:cNvPr>
          <p:cNvSpPr txBox="1"/>
          <p:nvPr/>
        </p:nvSpPr>
        <p:spPr>
          <a:xfrm>
            <a:off x="7268653" y="2001581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 dirty="0"/>
              <a:t>해당 페이지로 이동</a:t>
            </a:r>
            <a:endParaRPr lang="en-US" altLang="ko-KR" sz="900" dirty="0"/>
          </a:p>
        </p:txBody>
      </p:sp>
      <p:sp>
        <p:nvSpPr>
          <p:cNvPr id="9" name="TextBox 8">
            <a:hlinkClick r:id="rId4" action="ppaction://hlinksldjump"/>
          </p:cNvPr>
          <p:cNvSpPr txBox="1"/>
          <p:nvPr/>
        </p:nvSpPr>
        <p:spPr>
          <a:xfrm>
            <a:off x="7268654" y="2655500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 dirty="0"/>
              <a:t>해당 페이지로 이동</a:t>
            </a:r>
            <a:endParaRPr lang="en-US" altLang="ko-KR" sz="900" dirty="0"/>
          </a:p>
        </p:txBody>
      </p:sp>
      <p:sp>
        <p:nvSpPr>
          <p:cNvPr id="10" name="TextBox 9">
            <a:hlinkClick r:id="rId5" action="ppaction://hlinksldjump"/>
          </p:cNvPr>
          <p:cNvSpPr txBox="1"/>
          <p:nvPr/>
        </p:nvSpPr>
        <p:spPr>
          <a:xfrm>
            <a:off x="7268656" y="2986257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 dirty="0"/>
              <a:t>해당 페이지로 이동</a:t>
            </a:r>
            <a:endParaRPr lang="en-US" altLang="ko-KR" sz="900" dirty="0"/>
          </a:p>
        </p:txBody>
      </p:sp>
      <p:sp>
        <p:nvSpPr>
          <p:cNvPr id="14" name="TextBox 13">
            <a:hlinkClick r:id="rId6" action="ppaction://hlinksldjump"/>
          </p:cNvPr>
          <p:cNvSpPr txBox="1"/>
          <p:nvPr/>
        </p:nvSpPr>
        <p:spPr>
          <a:xfrm>
            <a:off x="7268663" y="3313890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 dirty="0"/>
              <a:t>해당 페이지로 이동</a:t>
            </a:r>
            <a:endParaRPr lang="en-US" altLang="ko-KR" sz="900" dirty="0"/>
          </a:p>
        </p:txBody>
      </p:sp>
      <p:sp>
        <p:nvSpPr>
          <p:cNvPr id="15" name="TextBox 14">
            <a:hlinkClick r:id="rId7" action="ppaction://hlinksldjump"/>
          </p:cNvPr>
          <p:cNvSpPr txBox="1"/>
          <p:nvPr/>
        </p:nvSpPr>
        <p:spPr>
          <a:xfrm>
            <a:off x="7268664" y="3973164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 dirty="0"/>
              <a:t>해당 페이지로 이동</a:t>
            </a:r>
            <a:endParaRPr lang="en-US" altLang="ko-KR" sz="900" dirty="0"/>
          </a:p>
        </p:txBody>
      </p:sp>
      <p:sp>
        <p:nvSpPr>
          <p:cNvPr id="16" name="TextBox 15">
            <a:hlinkClick r:id="rId8" action="ppaction://hlinksldjump"/>
          </p:cNvPr>
          <p:cNvSpPr txBox="1"/>
          <p:nvPr/>
        </p:nvSpPr>
        <p:spPr>
          <a:xfrm>
            <a:off x="7268666" y="4296398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/>
              <a:t>해당 페이지로 이동</a:t>
            </a:r>
            <a:endParaRPr lang="en-US" altLang="ko-KR" sz="900" dirty="0"/>
          </a:p>
        </p:txBody>
      </p:sp>
      <p:sp>
        <p:nvSpPr>
          <p:cNvPr id="18" name="TextBox 17">
            <a:hlinkClick r:id="rId9" action="ppaction://hlinksldjump"/>
          </p:cNvPr>
          <p:cNvSpPr txBox="1"/>
          <p:nvPr/>
        </p:nvSpPr>
        <p:spPr>
          <a:xfrm>
            <a:off x="7268669" y="4625612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 dirty="0"/>
              <a:t>해당 페이지로 이동</a:t>
            </a:r>
            <a:endParaRPr lang="en-US" altLang="ko-KR" sz="900" dirty="0"/>
          </a:p>
        </p:txBody>
      </p:sp>
      <p:sp>
        <p:nvSpPr>
          <p:cNvPr id="19" name="TextBox 18">
            <a:hlinkClick r:id="rId10" action="ppaction://hlinksldjump"/>
          </p:cNvPr>
          <p:cNvSpPr txBox="1"/>
          <p:nvPr/>
        </p:nvSpPr>
        <p:spPr>
          <a:xfrm>
            <a:off x="7268671" y="5285596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 dirty="0"/>
              <a:t>해당 페이지로 이동</a:t>
            </a:r>
            <a:endParaRPr lang="en-US" altLang="ko-KR" sz="900" dirty="0"/>
          </a:p>
        </p:txBody>
      </p:sp>
      <p:sp>
        <p:nvSpPr>
          <p:cNvPr id="20" name="TextBox 19">
            <a:hlinkClick r:id="rId11" action="ppaction://hlinksldjump"/>
          </p:cNvPr>
          <p:cNvSpPr txBox="1"/>
          <p:nvPr/>
        </p:nvSpPr>
        <p:spPr>
          <a:xfrm>
            <a:off x="7268672" y="5613577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 dirty="0"/>
              <a:t>해당 페이지로 이동</a:t>
            </a:r>
            <a:endParaRPr lang="en-US" altLang="ko-KR" sz="900" dirty="0"/>
          </a:p>
        </p:txBody>
      </p:sp>
      <p:sp>
        <p:nvSpPr>
          <p:cNvPr id="21" name="TextBox 20">
            <a:hlinkClick r:id="rId12" action="ppaction://hlinksldjump"/>
          </p:cNvPr>
          <p:cNvSpPr txBox="1"/>
          <p:nvPr/>
        </p:nvSpPr>
        <p:spPr>
          <a:xfrm>
            <a:off x="7268674" y="5941127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/>
              <a:t>해당 페이지로 이동</a:t>
            </a:r>
            <a:endParaRPr lang="en-US" altLang="ko-KR" sz="900" dirty="0"/>
          </a:p>
        </p:txBody>
      </p:sp>
      <p:sp>
        <p:nvSpPr>
          <p:cNvPr id="22" name="TextBox 21">
            <a:hlinkClick r:id="rId13" action="ppaction://hlinksldjump"/>
          </p:cNvPr>
          <p:cNvSpPr txBox="1"/>
          <p:nvPr/>
        </p:nvSpPr>
        <p:spPr>
          <a:xfrm>
            <a:off x="7268669" y="4958065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 dirty="0"/>
              <a:t>해당 페이지로 이동</a:t>
            </a:r>
            <a:endParaRPr lang="en-US" altLang="ko-KR" sz="900" dirty="0"/>
          </a:p>
        </p:txBody>
      </p:sp>
      <p:sp>
        <p:nvSpPr>
          <p:cNvPr id="23" name="TextBox 22">
            <a:hlinkClick r:id="rId14" action="ppaction://hlinksldjump"/>
          </p:cNvPr>
          <p:cNvSpPr txBox="1"/>
          <p:nvPr/>
        </p:nvSpPr>
        <p:spPr>
          <a:xfrm>
            <a:off x="7274846" y="2329744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 dirty="0"/>
              <a:t>해당 페이지로 이동</a:t>
            </a:r>
            <a:endParaRPr lang="en-US" altLang="ko-KR" sz="900" dirty="0"/>
          </a:p>
        </p:txBody>
      </p:sp>
      <p:sp>
        <p:nvSpPr>
          <p:cNvPr id="24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2000" b="1" kern="0" dirty="0" smtClean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목차</a:t>
            </a:r>
            <a:endParaRPr lang="ko-KR" altLang="en-US" sz="20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7" name="TextBox 16">
            <a:hlinkClick r:id="rId15" action="ppaction://hlinksldjump"/>
          </p:cNvPr>
          <p:cNvSpPr txBox="1"/>
          <p:nvPr/>
        </p:nvSpPr>
        <p:spPr>
          <a:xfrm>
            <a:off x="7274415" y="3638818"/>
            <a:ext cx="1392311" cy="197571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813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900" dirty="0"/>
              <a:t>해당 페이지로 이동</a:t>
            </a:r>
            <a:endParaRPr lang="en-US" altLang="ko-KR" sz="900" dirty="0"/>
          </a:p>
        </p:txBody>
      </p:sp>
    </p:spTree>
    <p:extLst>
      <p:ext uri="{BB962C8B-B14F-4D97-AF65-F5344CB8AC3E}">
        <p14:creationId xmlns:p14="http://schemas.microsoft.com/office/powerpoint/2010/main" val="1520757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3687516"/>
              </p:ext>
            </p:extLst>
          </p:nvPr>
        </p:nvGraphicFramePr>
        <p:xfrm>
          <a:off x="6182223" y="1166641"/>
          <a:ext cx="3304579" cy="47102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3824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상단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메뉴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3824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Manage 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3824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Create new 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256511"/>
                  </a:ext>
                </a:extLst>
              </a:tr>
              <a:tr h="3824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름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09532"/>
                  </a:ext>
                </a:extLst>
              </a:tr>
              <a:tr h="40036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5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설명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45985"/>
                  </a:ext>
                </a:extLst>
              </a:tr>
              <a:tr h="4851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6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신규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작성</a:t>
                      </a:r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.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비어있는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</a:t>
                      </a:r>
                      <a:b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.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다른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복사 후 수정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146147"/>
                  </a:ext>
                </a:extLst>
              </a:tr>
              <a:tr h="3824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7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개인용으로 사용 시 선택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X</a:t>
                      </a:r>
                    </a:p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유용인 경우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share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보기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Read)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권한 부여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유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3749773"/>
                  </a:ext>
                </a:extLst>
              </a:tr>
              <a:tr h="3824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8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개인용으로 사용 시 선택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X</a:t>
                      </a:r>
                    </a:p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유용인 경우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share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보기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Read)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사용자 선택 후 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dd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347904"/>
                  </a:ext>
                </a:extLst>
              </a:tr>
              <a:tr h="3824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9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개인용으로 사용 시 선택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X</a:t>
                      </a:r>
                    </a:p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유용인 경우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share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쓰기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Write)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권한 부여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유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728318"/>
                  </a:ext>
                </a:extLst>
              </a:tr>
              <a:tr h="3824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0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개인용으로 사용 시 선택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X</a:t>
                      </a:r>
                    </a:p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유용인 경우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share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쓰기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Write) </a:t>
                      </a:r>
                      <a:r>
                        <a:rPr lang="ko-KR" altLang="en-US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사용자 선택 후 </a:t>
                      </a: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dd</a:t>
                      </a:r>
                      <a:endParaRPr lang="en-US" altLang="ko-KR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644926"/>
                  </a:ext>
                </a:extLst>
              </a:tr>
              <a:tr h="3824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생성 완료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6319232"/>
                  </a:ext>
                </a:extLst>
              </a:tr>
              <a:tr h="3824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생성 취소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376324"/>
                  </a:ext>
                </a:extLst>
              </a:tr>
            </a:tbl>
          </a:graphicData>
        </a:graphic>
      </p:graphicFrame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t="14112" r="18616" b="72724"/>
          <a:stretch/>
        </p:blipFill>
        <p:spPr>
          <a:xfrm>
            <a:off x="418682" y="1165633"/>
            <a:ext cx="5579091" cy="816727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1589364" y="1165564"/>
            <a:ext cx="496864" cy="21632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7" name="타원 6"/>
          <p:cNvSpPr/>
          <p:nvPr/>
        </p:nvSpPr>
        <p:spPr>
          <a:xfrm>
            <a:off x="1485232" y="112282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1590467" y="1737835"/>
            <a:ext cx="1106597" cy="1787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9" name="타원 8"/>
          <p:cNvSpPr/>
          <p:nvPr/>
        </p:nvSpPr>
        <p:spPr>
          <a:xfrm>
            <a:off x="1464502" y="172082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1" name="TextBox 10">
            <a:hlinkClick r:id="rId3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4"/>
          <a:srcRect t="17754" b="69279"/>
          <a:stretch/>
        </p:blipFill>
        <p:spPr>
          <a:xfrm>
            <a:off x="420035" y="2073483"/>
            <a:ext cx="5585478" cy="705050"/>
          </a:xfrm>
          <a:prstGeom prst="rect">
            <a:avLst/>
          </a:prstGeom>
        </p:spPr>
      </p:pic>
      <p:sp>
        <p:nvSpPr>
          <p:cNvPr id="14" name="직사각형 13"/>
          <p:cNvSpPr/>
          <p:nvPr/>
        </p:nvSpPr>
        <p:spPr>
          <a:xfrm>
            <a:off x="4555085" y="2149849"/>
            <a:ext cx="740369" cy="1787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5" name="타원 14"/>
          <p:cNvSpPr/>
          <p:nvPr/>
        </p:nvSpPr>
        <p:spPr>
          <a:xfrm>
            <a:off x="4429120" y="213284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grpSp>
        <p:nvGrpSpPr>
          <p:cNvPr id="16" name="그룹 15"/>
          <p:cNvGrpSpPr/>
          <p:nvPr/>
        </p:nvGrpSpPr>
        <p:grpSpPr>
          <a:xfrm>
            <a:off x="414736" y="2869975"/>
            <a:ext cx="5598516" cy="2908782"/>
            <a:chOff x="510444" y="828675"/>
            <a:chExt cx="6890481" cy="3580039"/>
          </a:xfrm>
        </p:grpSpPr>
        <p:pic>
          <p:nvPicPr>
            <p:cNvPr id="17" name="그림 16"/>
            <p:cNvPicPr>
              <a:picLocks noChangeAspect="1"/>
            </p:cNvPicPr>
            <p:nvPr/>
          </p:nvPicPr>
          <p:blipFill rotWithShape="1">
            <a:blip r:embed="rId5"/>
            <a:srcRect t="17442" r="16636" b="35673"/>
            <a:stretch/>
          </p:blipFill>
          <p:spPr>
            <a:xfrm>
              <a:off x="510444" y="828675"/>
              <a:ext cx="6890481" cy="3580039"/>
            </a:xfrm>
            <a:prstGeom prst="rect">
              <a:avLst/>
            </a:prstGeom>
          </p:spPr>
        </p:pic>
        <p:pic>
          <p:nvPicPr>
            <p:cNvPr id="18" name="그림 17"/>
            <p:cNvPicPr>
              <a:picLocks noChangeAspect="1"/>
            </p:cNvPicPr>
            <p:nvPr/>
          </p:nvPicPr>
          <p:blipFill rotWithShape="1">
            <a:blip r:embed="rId6"/>
            <a:srcRect l="13047" t="35332" r="67516" b="55295"/>
            <a:stretch/>
          </p:blipFill>
          <p:spPr>
            <a:xfrm>
              <a:off x="1585584" y="2198345"/>
              <a:ext cx="1606551" cy="715703"/>
            </a:xfrm>
            <a:prstGeom prst="rect">
              <a:avLst/>
            </a:prstGeom>
          </p:spPr>
        </p:pic>
      </p:grpSp>
      <p:sp>
        <p:nvSpPr>
          <p:cNvPr id="19" name="직사각형 18"/>
          <p:cNvSpPr/>
          <p:nvPr/>
        </p:nvSpPr>
        <p:spPr>
          <a:xfrm>
            <a:off x="798414" y="3357537"/>
            <a:ext cx="1809650" cy="164734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0" name="타원 19"/>
          <p:cNvSpPr/>
          <p:nvPr/>
        </p:nvSpPr>
        <p:spPr>
          <a:xfrm>
            <a:off x="668784" y="333350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798411" y="3570362"/>
            <a:ext cx="1809650" cy="35406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2" name="타원 21"/>
          <p:cNvSpPr/>
          <p:nvPr/>
        </p:nvSpPr>
        <p:spPr>
          <a:xfrm>
            <a:off x="668781" y="354633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5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798408" y="3972796"/>
            <a:ext cx="1809650" cy="59123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4" name="타원 23"/>
          <p:cNvSpPr/>
          <p:nvPr/>
        </p:nvSpPr>
        <p:spPr>
          <a:xfrm>
            <a:off x="668778" y="394876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6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794719" y="4594615"/>
            <a:ext cx="459654" cy="32330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6" name="타원 25"/>
          <p:cNvSpPr/>
          <p:nvPr/>
        </p:nvSpPr>
        <p:spPr>
          <a:xfrm>
            <a:off x="659587" y="458971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7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795190" y="5018595"/>
            <a:ext cx="459654" cy="32330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8" name="타원 27"/>
          <p:cNvSpPr/>
          <p:nvPr/>
        </p:nvSpPr>
        <p:spPr>
          <a:xfrm>
            <a:off x="662001" y="501369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9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3651054" y="4775781"/>
            <a:ext cx="313950" cy="14214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0" name="타원 29"/>
          <p:cNvSpPr/>
          <p:nvPr/>
        </p:nvSpPr>
        <p:spPr>
          <a:xfrm>
            <a:off x="3519944" y="476770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8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3651525" y="5199762"/>
            <a:ext cx="313950" cy="14214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2" name="타원 31"/>
          <p:cNvSpPr/>
          <p:nvPr/>
        </p:nvSpPr>
        <p:spPr>
          <a:xfrm>
            <a:off x="3522358" y="519169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0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1264740" y="5514763"/>
            <a:ext cx="259463" cy="20810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4" name="타원 33"/>
          <p:cNvSpPr/>
          <p:nvPr/>
        </p:nvSpPr>
        <p:spPr>
          <a:xfrm>
            <a:off x="1173267" y="543872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1562695" y="5514764"/>
            <a:ext cx="259463" cy="20810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6" name="타원 35"/>
          <p:cNvSpPr/>
          <p:nvPr/>
        </p:nvSpPr>
        <p:spPr>
          <a:xfrm>
            <a:off x="1538925" y="543801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7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en-US" altLang="ko-KR" sz="1800" dirty="0"/>
              <a:t>Dashboard</a:t>
            </a:r>
            <a:r>
              <a:rPr lang="ko-KR" altLang="en-US" sz="1800" dirty="0"/>
              <a:t> 생성 </a:t>
            </a:r>
            <a:r>
              <a:rPr lang="en-US" altLang="ko-KR" sz="1800" dirty="0"/>
              <a:t>/</a:t>
            </a:r>
            <a:r>
              <a:rPr lang="ko-KR" altLang="en-US" sz="1800" dirty="0"/>
              <a:t> 저장 </a:t>
            </a:r>
            <a:r>
              <a:rPr lang="en-US" altLang="ko-KR" sz="1800" dirty="0"/>
              <a:t>/ </a:t>
            </a:r>
            <a:r>
              <a:rPr lang="ko-KR" altLang="en-US" sz="1800" dirty="0"/>
              <a:t>공유  </a:t>
            </a:r>
            <a:r>
              <a:rPr lang="en-US" altLang="ko-KR" sz="1800" dirty="0"/>
              <a:t>&lt;1/3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65651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4389087"/>
              </p:ext>
            </p:extLst>
          </p:nvPr>
        </p:nvGraphicFramePr>
        <p:xfrm>
          <a:off x="6182223" y="1166635"/>
          <a:ext cx="3304677" cy="53034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2049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53951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308677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53034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생성 완료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</a:tbl>
          </a:graphicData>
        </a:graphic>
      </p:graphicFrame>
      <p:sp>
        <p:nvSpPr>
          <p:cNvPr id="19" name="TextBox 18">
            <a:hlinkClick r:id="rId2" action="ppaction://hlinksldjump"/>
          </p:cNvPr>
          <p:cNvSpPr txBox="1"/>
          <p:nvPr/>
        </p:nvSpPr>
        <p:spPr>
          <a:xfrm flipH="1">
            <a:off x="8477210" y="370568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t="10937"/>
          <a:stretch/>
        </p:blipFill>
        <p:spPr>
          <a:xfrm>
            <a:off x="422474" y="1166634"/>
            <a:ext cx="5583038" cy="4535945"/>
          </a:xfrm>
          <a:prstGeom prst="rect">
            <a:avLst/>
          </a:prstGeom>
        </p:spPr>
      </p:pic>
      <p:sp>
        <p:nvSpPr>
          <p:cNvPr id="7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en-US" altLang="ko-KR" sz="1800" dirty="0"/>
              <a:t>Dashboard</a:t>
            </a:r>
            <a:r>
              <a:rPr lang="ko-KR" altLang="en-US" sz="1800" dirty="0"/>
              <a:t> 생성 </a:t>
            </a:r>
            <a:r>
              <a:rPr lang="en-US" altLang="ko-KR" sz="1800" dirty="0"/>
              <a:t>/</a:t>
            </a:r>
            <a:r>
              <a:rPr lang="ko-KR" altLang="en-US" sz="1800" dirty="0"/>
              <a:t> 저장 </a:t>
            </a:r>
            <a:r>
              <a:rPr lang="en-US" altLang="ko-KR" sz="1800" dirty="0"/>
              <a:t>/ </a:t>
            </a:r>
            <a:r>
              <a:rPr lang="ko-KR" altLang="en-US" sz="1800" dirty="0"/>
              <a:t>공유  </a:t>
            </a:r>
            <a:r>
              <a:rPr lang="en-US" altLang="ko-KR" sz="1800" dirty="0" smtClean="0"/>
              <a:t>&lt;2/3</a:t>
            </a:r>
            <a:r>
              <a:rPr lang="en-US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32636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2931646"/>
              </p:ext>
            </p:extLst>
          </p:nvPr>
        </p:nvGraphicFramePr>
        <p:xfrm>
          <a:off x="6182224" y="1166640"/>
          <a:ext cx="3305253" cy="20292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2351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2685882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387020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61524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생성 완료 후 공유 등 수정 필요 시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</a:t>
                      </a:r>
                      <a:b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Manage Dashboards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141399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편집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수정</a:t>
                      </a:r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: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름 수정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유 설정 등 신규 생성 시 내용과 동일</a:t>
                      </a:r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삭제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/>
                      </a:r>
                      <a:b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: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삭제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/>
                      </a:r>
                      <a:b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복사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/>
                      </a:r>
                      <a:b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: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복사하여 신규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생성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/>
                      </a:r>
                      <a:b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</a:tbl>
          </a:graphicData>
        </a:graphic>
      </p:graphicFrame>
      <p:sp>
        <p:nvSpPr>
          <p:cNvPr id="12" name="TextBox 11">
            <a:hlinkClick r:id="rId2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t="10776" b="57084"/>
          <a:stretch/>
        </p:blipFill>
        <p:spPr>
          <a:xfrm>
            <a:off x="419199" y="1166639"/>
            <a:ext cx="5595618" cy="1498179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>
          <a:xfrm>
            <a:off x="1342162" y="1735289"/>
            <a:ext cx="831403" cy="14774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5" name="타원 14"/>
          <p:cNvSpPr/>
          <p:nvPr/>
        </p:nvSpPr>
        <p:spPr>
          <a:xfrm>
            <a:off x="1186947" y="173372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4"/>
          <a:srcRect t="14993" b="24029"/>
          <a:stretch/>
        </p:blipFill>
        <p:spPr>
          <a:xfrm>
            <a:off x="419200" y="2864323"/>
            <a:ext cx="5586313" cy="2837745"/>
          </a:xfrm>
          <a:prstGeom prst="rect">
            <a:avLst/>
          </a:prstGeom>
        </p:spPr>
      </p:pic>
      <p:sp>
        <p:nvSpPr>
          <p:cNvPr id="34" name="직사각형 33"/>
          <p:cNvSpPr/>
          <p:nvPr/>
        </p:nvSpPr>
        <p:spPr>
          <a:xfrm>
            <a:off x="1482400" y="4018448"/>
            <a:ext cx="520942" cy="20810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6" name="직사각형 35"/>
          <p:cNvSpPr/>
          <p:nvPr/>
        </p:nvSpPr>
        <p:spPr>
          <a:xfrm>
            <a:off x="5543037" y="4030531"/>
            <a:ext cx="309514" cy="1787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7" name="타원 36"/>
          <p:cNvSpPr/>
          <p:nvPr/>
        </p:nvSpPr>
        <p:spPr>
          <a:xfrm>
            <a:off x="5417071" y="401352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4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en-US" altLang="ko-KR" sz="1800" dirty="0"/>
              <a:t>Dashboard</a:t>
            </a:r>
            <a:r>
              <a:rPr lang="ko-KR" altLang="en-US" sz="1800" dirty="0"/>
              <a:t> 생성 </a:t>
            </a:r>
            <a:r>
              <a:rPr lang="en-US" altLang="ko-KR" sz="1800" dirty="0"/>
              <a:t>/</a:t>
            </a:r>
            <a:r>
              <a:rPr lang="ko-KR" altLang="en-US" sz="1800" dirty="0"/>
              <a:t> 저장 </a:t>
            </a:r>
            <a:r>
              <a:rPr lang="en-US" altLang="ko-KR" sz="1800" dirty="0"/>
              <a:t>/ </a:t>
            </a:r>
            <a:r>
              <a:rPr lang="ko-KR" altLang="en-US" sz="1800" dirty="0"/>
              <a:t>공유  </a:t>
            </a:r>
            <a:r>
              <a:rPr lang="en-US" altLang="ko-KR" sz="1800" dirty="0" smtClean="0"/>
              <a:t>&lt;3/3</a:t>
            </a:r>
            <a:r>
              <a:rPr lang="en-US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33088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8441699"/>
              </p:ext>
            </p:extLst>
          </p:nvPr>
        </p:nvGraphicFramePr>
        <p:xfrm>
          <a:off x="6182223" y="1166638"/>
          <a:ext cx="3304579" cy="184652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6155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Layout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변경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6155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af-ZA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Gadget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추가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6155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추가할 </a:t>
                      </a:r>
                      <a:r>
                        <a:rPr lang="af-ZA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Gadget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의 유형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849521"/>
                  </a:ext>
                </a:extLst>
              </a:tr>
            </a:tbl>
          </a:graphicData>
        </a:graphic>
      </p:graphicFrame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2"/>
          <a:srcRect t="10559" b="71240"/>
          <a:stretch/>
        </p:blipFill>
        <p:spPr>
          <a:xfrm>
            <a:off x="424112" y="1165653"/>
            <a:ext cx="5581401" cy="886672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4817566" y="1400200"/>
            <a:ext cx="414038" cy="1787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7" name="타원 6"/>
          <p:cNvSpPr/>
          <p:nvPr/>
        </p:nvSpPr>
        <p:spPr>
          <a:xfrm>
            <a:off x="4708290" y="132344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5266803" y="1400198"/>
            <a:ext cx="373039" cy="1787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9" name="타원 8"/>
          <p:cNvSpPr/>
          <p:nvPr/>
        </p:nvSpPr>
        <p:spPr>
          <a:xfrm>
            <a:off x="5563091" y="1298060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4473564" y="1723869"/>
            <a:ext cx="1120484" cy="28976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1" name="타원 10"/>
          <p:cNvSpPr/>
          <p:nvPr/>
        </p:nvSpPr>
        <p:spPr>
          <a:xfrm>
            <a:off x="4364287" y="164711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 rotWithShape="1">
          <a:blip r:embed="rId3"/>
          <a:srcRect l="31070" t="46190" r="31095" b="35066"/>
          <a:stretch/>
        </p:blipFill>
        <p:spPr>
          <a:xfrm>
            <a:off x="527462" y="2386286"/>
            <a:ext cx="2405833" cy="1040262"/>
          </a:xfrm>
          <a:prstGeom prst="rect">
            <a:avLst/>
          </a:prstGeom>
          <a:ln w="38100">
            <a:solidFill>
              <a:srgbClr val="00B0F0"/>
            </a:solidFill>
            <a:prstDash val="sysDot"/>
          </a:ln>
        </p:spPr>
      </p:pic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4"/>
          <a:srcRect l="13690" t="19462" r="13489" b="44699"/>
          <a:stretch/>
        </p:blipFill>
        <p:spPr>
          <a:xfrm>
            <a:off x="1373572" y="3799802"/>
            <a:ext cx="4630646" cy="1989131"/>
          </a:xfrm>
          <a:prstGeom prst="rect">
            <a:avLst/>
          </a:prstGeom>
          <a:ln w="38100">
            <a:solidFill>
              <a:srgbClr val="00B0F0"/>
            </a:solidFill>
            <a:prstDash val="sysDot"/>
          </a:ln>
        </p:spPr>
      </p:pic>
      <p:sp>
        <p:nvSpPr>
          <p:cNvPr id="14" name="타원 13"/>
          <p:cNvSpPr/>
          <p:nvPr/>
        </p:nvSpPr>
        <p:spPr>
          <a:xfrm>
            <a:off x="423114" y="2373607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5" name="타원 14"/>
          <p:cNvSpPr/>
          <p:nvPr/>
        </p:nvSpPr>
        <p:spPr>
          <a:xfrm>
            <a:off x="1242645" y="379980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2699921" y="4552878"/>
            <a:ext cx="574985" cy="135176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7" name="타원 16"/>
          <p:cNvSpPr/>
          <p:nvPr/>
        </p:nvSpPr>
        <p:spPr>
          <a:xfrm>
            <a:off x="2567448" y="452268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9" name="TextBox 18">
            <a:hlinkClick r:id="rId5" action="ppaction://hlinksldjump"/>
          </p:cNvPr>
          <p:cNvSpPr txBox="1"/>
          <p:nvPr/>
        </p:nvSpPr>
        <p:spPr>
          <a:xfrm flipH="1">
            <a:off x="8477210" y="370574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20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3" y="360364"/>
            <a:ext cx="6064929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en-US" altLang="ko-KR" sz="1800" dirty="0"/>
              <a:t>Dashboard</a:t>
            </a:r>
            <a:r>
              <a:rPr lang="ko-KR" altLang="en-US" sz="1800" dirty="0"/>
              <a:t> 생성 </a:t>
            </a:r>
            <a:r>
              <a:rPr lang="en-US" altLang="ko-KR" sz="1800" dirty="0"/>
              <a:t>&gt; Layout </a:t>
            </a:r>
            <a:r>
              <a:rPr lang="ko-KR" altLang="en-US" sz="1800" dirty="0"/>
              <a:t>변경 </a:t>
            </a:r>
            <a:r>
              <a:rPr lang="en-US" altLang="ko-KR" sz="1800" dirty="0"/>
              <a:t>/ Gadget </a:t>
            </a:r>
            <a:r>
              <a:rPr lang="ko-KR" altLang="en-US" sz="1800" dirty="0"/>
              <a:t>추가  </a:t>
            </a:r>
            <a:r>
              <a:rPr lang="en-US" altLang="ko-KR" sz="1800" dirty="0"/>
              <a:t>&lt;1/4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68693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9812147"/>
              </p:ext>
            </p:extLst>
          </p:nvPr>
        </p:nvGraphicFramePr>
        <p:xfrm>
          <a:off x="6182223" y="1166637"/>
          <a:ext cx="3304578" cy="18364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644156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360786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61216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예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) Two Dimensional Filter Statistics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&gt; Add gadget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차원 집계표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61216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※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다수의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Gadget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추가 가능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※ 1</a:t>
                      </a:r>
                      <a:r>
                        <a:rPr lang="ko-KR" altLang="en-US" sz="90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개 </a:t>
                      </a:r>
                      <a:r>
                        <a:rPr lang="en-US" altLang="ko-KR" sz="90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ashboard</a:t>
                      </a:r>
                      <a:r>
                        <a:rPr lang="ko-KR" altLang="en-US" sz="90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에 </a:t>
                      </a:r>
                      <a:r>
                        <a:rPr lang="en-US" altLang="ko-KR" sz="90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Gadget 20</a:t>
                      </a:r>
                      <a:r>
                        <a:rPr lang="ko-KR" altLang="en-US" sz="90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개까지</a:t>
                      </a:r>
                      <a:r>
                        <a:rPr lang="en-US" altLang="ko-KR" sz="90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ko-KR" altLang="en-US" sz="90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추가 가능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4335160"/>
                  </a:ext>
                </a:extLst>
              </a:tr>
              <a:tr h="61216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Gadget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 완료 후 창 닫기 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</a:tbl>
          </a:graphicData>
        </a:graphic>
      </p:graphicFrame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t="10664" b="1554"/>
          <a:stretch/>
        </p:blipFill>
        <p:spPr>
          <a:xfrm>
            <a:off x="421773" y="1169959"/>
            <a:ext cx="5583741" cy="4532621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4656903" y="3115874"/>
            <a:ext cx="475195" cy="163563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7" name="타원 6"/>
          <p:cNvSpPr/>
          <p:nvPr/>
        </p:nvSpPr>
        <p:spPr>
          <a:xfrm>
            <a:off x="4540350" y="307469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5010787" y="1668394"/>
            <a:ext cx="232429" cy="163563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9" name="타원 8"/>
          <p:cNvSpPr/>
          <p:nvPr/>
        </p:nvSpPr>
        <p:spPr>
          <a:xfrm>
            <a:off x="4894234" y="162721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2" name="TextBox 11">
            <a:hlinkClick r:id="rId3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1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3" y="360364"/>
            <a:ext cx="6064929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en-US" altLang="ko-KR" sz="1800" dirty="0"/>
              <a:t>Dashboard</a:t>
            </a:r>
            <a:r>
              <a:rPr lang="ko-KR" altLang="en-US" sz="1800" dirty="0"/>
              <a:t> 생성 </a:t>
            </a:r>
            <a:r>
              <a:rPr lang="en-US" altLang="ko-KR" sz="1800" dirty="0"/>
              <a:t>&gt; Layout </a:t>
            </a:r>
            <a:r>
              <a:rPr lang="ko-KR" altLang="en-US" sz="1800" dirty="0"/>
              <a:t>변경 </a:t>
            </a:r>
            <a:r>
              <a:rPr lang="en-US" altLang="ko-KR" sz="1800" dirty="0"/>
              <a:t>/ Gadget </a:t>
            </a:r>
            <a:r>
              <a:rPr lang="ko-KR" altLang="en-US" sz="1800" dirty="0"/>
              <a:t>추가  </a:t>
            </a:r>
            <a:r>
              <a:rPr lang="en-US" altLang="ko-KR" sz="1800" dirty="0" smtClean="0"/>
              <a:t>&lt;2/4</a:t>
            </a:r>
            <a:r>
              <a:rPr lang="en-US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79950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2"/>
          <a:srcRect t="10612" b="1255"/>
          <a:stretch/>
        </p:blipFill>
        <p:spPr>
          <a:xfrm>
            <a:off x="422475" y="1171388"/>
            <a:ext cx="5583038" cy="4540248"/>
          </a:xfrm>
          <a:prstGeom prst="rect">
            <a:avLst/>
          </a:prstGeom>
        </p:spPr>
      </p:pic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115632"/>
              </p:ext>
            </p:extLst>
          </p:nvPr>
        </p:nvGraphicFramePr>
        <p:xfrm>
          <a:off x="6182223" y="1175699"/>
          <a:ext cx="3304578" cy="245662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643238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361704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4802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요약할 </a:t>
                      </a:r>
                      <a:r>
                        <a:rPr lang="af-ZA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dvanced Search : </a:t>
                      </a:r>
                      <a:r>
                        <a:rPr lang="af-ZA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목록 팝업에서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282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X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축에 표시할 항목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282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Y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축에 표시할 항목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849521"/>
                  </a:ext>
                </a:extLst>
              </a:tr>
              <a:tr h="282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정렬 기준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6810"/>
                  </a:ext>
                </a:extLst>
              </a:tr>
              <a:tr h="282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5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오름차순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내림차순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622137"/>
                  </a:ext>
                </a:extLst>
              </a:tr>
              <a:tr h="282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6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Gadget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에 표시할 행 수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064023"/>
                  </a:ext>
                </a:extLst>
              </a:tr>
              <a:tr h="282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7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자동 업데이트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15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분 간격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)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0291830"/>
                  </a:ext>
                </a:extLst>
              </a:tr>
              <a:tr h="282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8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완료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230718"/>
                  </a:ext>
                </a:extLst>
              </a:tr>
            </a:tbl>
          </a:graphicData>
        </a:graphic>
      </p:graphicFrame>
      <p:sp>
        <p:nvSpPr>
          <p:cNvPr id="6" name="직사각형 5"/>
          <p:cNvSpPr/>
          <p:nvPr/>
        </p:nvSpPr>
        <p:spPr>
          <a:xfrm>
            <a:off x="1449606" y="1818142"/>
            <a:ext cx="1622803" cy="238722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7" name="타원 6"/>
          <p:cNvSpPr/>
          <p:nvPr/>
        </p:nvSpPr>
        <p:spPr>
          <a:xfrm>
            <a:off x="1300777" y="181218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1453476" y="2104495"/>
            <a:ext cx="1622803" cy="14317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0" name="타원 9"/>
          <p:cNvSpPr/>
          <p:nvPr/>
        </p:nvSpPr>
        <p:spPr>
          <a:xfrm>
            <a:off x="1304647" y="209853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1451924" y="2282498"/>
            <a:ext cx="1622803" cy="12843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2" name="타원 11"/>
          <p:cNvSpPr/>
          <p:nvPr/>
        </p:nvSpPr>
        <p:spPr>
          <a:xfrm>
            <a:off x="1303095" y="227653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455787" y="2456632"/>
            <a:ext cx="1622803" cy="12843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5" name="타원 14"/>
          <p:cNvSpPr/>
          <p:nvPr/>
        </p:nvSpPr>
        <p:spPr>
          <a:xfrm>
            <a:off x="1306958" y="245067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1455784" y="2735241"/>
            <a:ext cx="1622803" cy="12843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7" name="타원 16"/>
          <p:cNvSpPr/>
          <p:nvPr/>
        </p:nvSpPr>
        <p:spPr>
          <a:xfrm>
            <a:off x="1310825" y="272928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5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1455780" y="2901633"/>
            <a:ext cx="1622803" cy="12843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9" name="타원 18"/>
          <p:cNvSpPr/>
          <p:nvPr/>
        </p:nvSpPr>
        <p:spPr>
          <a:xfrm>
            <a:off x="1306951" y="289567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6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1459647" y="3187984"/>
            <a:ext cx="1622803" cy="12843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1" name="타원 20"/>
          <p:cNvSpPr/>
          <p:nvPr/>
        </p:nvSpPr>
        <p:spPr>
          <a:xfrm>
            <a:off x="1310818" y="318202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7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1972171" y="3427899"/>
            <a:ext cx="290910" cy="12843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3" name="타원 22"/>
          <p:cNvSpPr/>
          <p:nvPr/>
        </p:nvSpPr>
        <p:spPr>
          <a:xfrm>
            <a:off x="1848683" y="3421940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8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3705284" y="1818142"/>
            <a:ext cx="1622803" cy="238722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5" name="타원 24"/>
          <p:cNvSpPr/>
          <p:nvPr/>
        </p:nvSpPr>
        <p:spPr>
          <a:xfrm>
            <a:off x="3556456" y="181218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9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3709154" y="2104495"/>
            <a:ext cx="1622803" cy="14317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7" name="타원 26"/>
          <p:cNvSpPr/>
          <p:nvPr/>
        </p:nvSpPr>
        <p:spPr>
          <a:xfrm>
            <a:off x="3560326" y="209853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0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3707602" y="2396004"/>
            <a:ext cx="1622803" cy="79198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9" name="타원 28"/>
          <p:cNvSpPr/>
          <p:nvPr/>
        </p:nvSpPr>
        <p:spPr>
          <a:xfrm>
            <a:off x="3558774" y="239004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3711459" y="3407252"/>
            <a:ext cx="1622803" cy="12843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5" name="타원 34"/>
          <p:cNvSpPr/>
          <p:nvPr/>
        </p:nvSpPr>
        <p:spPr>
          <a:xfrm>
            <a:off x="3562630" y="340129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3715325" y="3688444"/>
            <a:ext cx="1622803" cy="12843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7" name="타원 36"/>
          <p:cNvSpPr/>
          <p:nvPr/>
        </p:nvSpPr>
        <p:spPr>
          <a:xfrm>
            <a:off x="3566497" y="368248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4227850" y="3936098"/>
            <a:ext cx="290910" cy="12843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9" name="타원 38"/>
          <p:cNvSpPr/>
          <p:nvPr/>
        </p:nvSpPr>
        <p:spPr>
          <a:xfrm>
            <a:off x="4104362" y="393013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9138139"/>
              </p:ext>
            </p:extLst>
          </p:nvPr>
        </p:nvGraphicFramePr>
        <p:xfrm>
          <a:off x="6182223" y="3787050"/>
          <a:ext cx="3304579" cy="208987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66065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34428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4802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9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요약할 </a:t>
                      </a:r>
                      <a:r>
                        <a:rPr lang="af-ZA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dvanced Search : </a:t>
                      </a:r>
                      <a:r>
                        <a:rPr lang="af-ZA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목록 팝업에서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282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0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Gadget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에 표시할 행 수</a:t>
                      </a:r>
                      <a:endParaRPr lang="ko-KR" altLang="en-US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4802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목록에 표시할 항목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삭제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/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순서 변경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849521"/>
                  </a:ext>
                </a:extLst>
              </a:tr>
              <a:tr h="282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목록에 표시할 항목 추가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6810"/>
                  </a:ext>
                </a:extLst>
              </a:tr>
              <a:tr h="282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자동 업데이트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15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분 간격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)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0291830"/>
                  </a:ext>
                </a:extLst>
              </a:tr>
              <a:tr h="282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완료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230718"/>
                  </a:ext>
                </a:extLst>
              </a:tr>
            </a:tbl>
          </a:graphicData>
        </a:graphic>
      </p:graphicFrame>
      <p:sp>
        <p:nvSpPr>
          <p:cNvPr id="42" name="TextBox 41">
            <a:hlinkClick r:id="rId3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41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3" y="360364"/>
            <a:ext cx="6064929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en-US" altLang="ko-KR" sz="1800" dirty="0"/>
              <a:t>Dashboard</a:t>
            </a:r>
            <a:r>
              <a:rPr lang="ko-KR" altLang="en-US" sz="1800" dirty="0"/>
              <a:t> 생성 </a:t>
            </a:r>
            <a:r>
              <a:rPr lang="en-US" altLang="ko-KR" sz="1800" dirty="0"/>
              <a:t>&gt; Layout </a:t>
            </a:r>
            <a:r>
              <a:rPr lang="ko-KR" altLang="en-US" sz="1800" dirty="0"/>
              <a:t>변경 </a:t>
            </a:r>
            <a:r>
              <a:rPr lang="en-US" altLang="ko-KR" sz="1800" dirty="0"/>
              <a:t>/ Gadget </a:t>
            </a:r>
            <a:r>
              <a:rPr lang="ko-KR" altLang="en-US" sz="1800" dirty="0"/>
              <a:t>추가  </a:t>
            </a:r>
            <a:r>
              <a:rPr lang="en-US" altLang="ko-KR" sz="1800" dirty="0" smtClean="0"/>
              <a:t>&lt;3/4</a:t>
            </a:r>
            <a:r>
              <a:rPr lang="en-US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77806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0912010"/>
              </p:ext>
            </p:extLst>
          </p:nvPr>
        </p:nvGraphicFramePr>
        <p:xfrm>
          <a:off x="6182223" y="1157578"/>
          <a:ext cx="3304579" cy="18119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60398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X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축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: Status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60398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Y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축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: Issue Type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60398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목록에 표시되는 항목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849521"/>
                  </a:ext>
                </a:extLst>
              </a:tr>
            </a:tbl>
          </a:graphicData>
        </a:graphic>
      </p:graphicFrame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/>
          <a:srcRect l="465" t="10679" r="1407" b="1256"/>
          <a:stretch/>
        </p:blipFill>
        <p:spPr>
          <a:xfrm>
            <a:off x="425834" y="1164215"/>
            <a:ext cx="5579680" cy="4535945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2139673" y="1796353"/>
            <a:ext cx="1079778" cy="14317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8" name="타원 7"/>
          <p:cNvSpPr/>
          <p:nvPr/>
        </p:nvSpPr>
        <p:spPr>
          <a:xfrm>
            <a:off x="1990844" y="179039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1340003" y="1954267"/>
            <a:ext cx="605550" cy="34383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2" name="타원 11"/>
          <p:cNvSpPr/>
          <p:nvPr/>
        </p:nvSpPr>
        <p:spPr>
          <a:xfrm>
            <a:off x="1212453" y="1939219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3645571" y="1796353"/>
            <a:ext cx="2200001" cy="14317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4" name="타원 13"/>
          <p:cNvSpPr/>
          <p:nvPr/>
        </p:nvSpPr>
        <p:spPr>
          <a:xfrm>
            <a:off x="3496742" y="179039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5" name="TextBox 14">
            <a:hlinkClick r:id="rId3" action="ppaction://hlinksldjump"/>
          </p:cNvPr>
          <p:cNvSpPr txBox="1"/>
          <p:nvPr/>
        </p:nvSpPr>
        <p:spPr>
          <a:xfrm flipH="1">
            <a:off x="8477210" y="370574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6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3" y="360364"/>
            <a:ext cx="6064929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en-US" altLang="ko-KR" sz="1800" dirty="0"/>
              <a:t>Dashboard</a:t>
            </a:r>
            <a:r>
              <a:rPr lang="ko-KR" altLang="en-US" sz="1800" dirty="0"/>
              <a:t> 생성 </a:t>
            </a:r>
            <a:r>
              <a:rPr lang="en-US" altLang="ko-KR" sz="1800" dirty="0"/>
              <a:t>&gt; Layout </a:t>
            </a:r>
            <a:r>
              <a:rPr lang="ko-KR" altLang="en-US" sz="1800" dirty="0"/>
              <a:t>변경 </a:t>
            </a:r>
            <a:r>
              <a:rPr lang="en-US" altLang="ko-KR" sz="1800" dirty="0"/>
              <a:t>/ Gadget </a:t>
            </a:r>
            <a:r>
              <a:rPr lang="ko-KR" altLang="en-US" sz="1800" dirty="0"/>
              <a:t>추가  </a:t>
            </a:r>
            <a:r>
              <a:rPr lang="en-US" altLang="ko-KR" sz="1800" dirty="0" smtClean="0"/>
              <a:t>&lt;4/4</a:t>
            </a:r>
            <a:r>
              <a:rPr lang="en-US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60229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1932049"/>
              </p:ext>
            </p:extLst>
          </p:nvPr>
        </p:nvGraphicFramePr>
        <p:xfrm>
          <a:off x="6182223" y="1157585"/>
          <a:ext cx="3304579" cy="12623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6311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af-ZA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Gadget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에 표시된 숫자 클릭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클릭한 숫자에 해당하는 </a:t>
                      </a:r>
                      <a:r>
                        <a:rPr lang="af-ZA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목록 조회 결과 확인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6311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6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클릭 후 조회된 </a:t>
                      </a:r>
                      <a:r>
                        <a:rPr lang="af-ZA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ter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목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: 16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개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icket</a:t>
                      </a: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849521"/>
                  </a:ext>
                </a:extLst>
              </a:tr>
            </a:tbl>
          </a:graphicData>
        </a:graphic>
      </p:graphicFrame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/>
          <a:srcRect l="465" t="10679" r="1407" b="27469"/>
          <a:stretch/>
        </p:blipFill>
        <p:spPr>
          <a:xfrm>
            <a:off x="425834" y="1164219"/>
            <a:ext cx="5579680" cy="2692205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2118668" y="1830355"/>
            <a:ext cx="1364807" cy="589552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8" name="타원 7"/>
          <p:cNvSpPr/>
          <p:nvPr/>
        </p:nvSpPr>
        <p:spPr>
          <a:xfrm>
            <a:off x="1977578" y="182439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3832231" y="3692245"/>
            <a:ext cx="130446" cy="14317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4" name="타원 13"/>
          <p:cNvSpPr/>
          <p:nvPr/>
        </p:nvSpPr>
        <p:spPr>
          <a:xfrm>
            <a:off x="3683402" y="368628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l="2357" t="14715" r="34421" b="6644"/>
          <a:stretch/>
        </p:blipFill>
        <p:spPr>
          <a:xfrm>
            <a:off x="437186" y="2971549"/>
            <a:ext cx="2960262" cy="2887452"/>
          </a:xfrm>
          <a:prstGeom prst="rect">
            <a:avLst/>
          </a:prstGeom>
          <a:ln w="38100">
            <a:solidFill>
              <a:srgbClr val="00B0F0"/>
            </a:solidFill>
            <a:prstDash val="sysDot"/>
          </a:ln>
        </p:spPr>
      </p:pic>
      <p:sp>
        <p:nvSpPr>
          <p:cNvPr id="15" name="타원 14"/>
          <p:cNvSpPr/>
          <p:nvPr/>
        </p:nvSpPr>
        <p:spPr>
          <a:xfrm>
            <a:off x="342449" y="2971549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6" name="TextBox 15">
            <a:hlinkClick r:id="rId4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en-US" altLang="ko-KR" sz="1800" dirty="0"/>
              <a:t>Dashboard</a:t>
            </a:r>
            <a:r>
              <a:rPr lang="ko-KR" altLang="en-US" sz="1800" dirty="0"/>
              <a:t>에서 </a:t>
            </a:r>
            <a:r>
              <a:rPr lang="af-ZA" altLang="ko-KR" sz="1800" dirty="0"/>
              <a:t>Filter</a:t>
            </a:r>
            <a:r>
              <a:rPr lang="ko-KR" altLang="en-US" sz="1800" dirty="0"/>
              <a:t> 목록 보기  </a:t>
            </a:r>
            <a:r>
              <a:rPr lang="en-US" altLang="ko-KR" sz="1800" dirty="0"/>
              <a:t>&lt;1/1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09333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7606449"/>
              </p:ext>
            </p:extLst>
          </p:nvPr>
        </p:nvGraphicFramePr>
        <p:xfrm>
          <a:off x="6182223" y="1166635"/>
          <a:ext cx="3304579" cy="12704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6352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Key(Jira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번호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)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또는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Summary(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제목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)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클릭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6352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조회된 이슈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icket</a:t>
                      </a: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921932"/>
                  </a:ext>
                </a:extLst>
              </a:tr>
            </a:tbl>
          </a:graphicData>
        </a:graphic>
      </p:graphicFrame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2"/>
          <a:srcRect t="10559" r="1378" b="4270"/>
          <a:stretch/>
        </p:blipFill>
        <p:spPr>
          <a:xfrm>
            <a:off x="419154" y="1166739"/>
            <a:ext cx="5586359" cy="4535840"/>
          </a:xfrm>
          <a:prstGeom prst="rect">
            <a:avLst/>
          </a:prstGeom>
        </p:spPr>
      </p:pic>
      <p:sp>
        <p:nvSpPr>
          <p:cNvPr id="12" name="직사각형 11"/>
          <p:cNvSpPr/>
          <p:nvPr/>
        </p:nvSpPr>
        <p:spPr>
          <a:xfrm>
            <a:off x="732270" y="2443052"/>
            <a:ext cx="1364807" cy="147543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6" name="타원 15"/>
          <p:cNvSpPr/>
          <p:nvPr/>
        </p:nvSpPr>
        <p:spPr>
          <a:xfrm>
            <a:off x="591180" y="243709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 rotWithShape="1">
          <a:blip r:embed="rId3"/>
          <a:srcRect t="14384" r="1608" b="1835"/>
          <a:stretch/>
        </p:blipFill>
        <p:spPr>
          <a:xfrm>
            <a:off x="4706892" y="2682525"/>
            <a:ext cx="4756498" cy="3176060"/>
          </a:xfrm>
          <a:prstGeom prst="rect">
            <a:avLst/>
          </a:prstGeom>
          <a:ln w="38100">
            <a:solidFill>
              <a:srgbClr val="00B0F0"/>
            </a:solidFill>
            <a:prstDash val="sysDot"/>
          </a:ln>
        </p:spPr>
      </p:pic>
      <p:sp>
        <p:nvSpPr>
          <p:cNvPr id="18" name="타원 17"/>
          <p:cNvSpPr/>
          <p:nvPr/>
        </p:nvSpPr>
        <p:spPr>
          <a:xfrm>
            <a:off x="6781237" y="2583928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1" name="TextBox 20">
            <a:hlinkClick r:id="rId4" action="ppaction://hlinksldjump"/>
          </p:cNvPr>
          <p:cNvSpPr txBox="1"/>
          <p:nvPr/>
        </p:nvSpPr>
        <p:spPr>
          <a:xfrm flipH="1">
            <a:off x="8477210" y="370568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1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af-ZA" altLang="ko-KR" sz="1800" dirty="0"/>
              <a:t>Filter</a:t>
            </a:r>
            <a:r>
              <a:rPr lang="ko-KR" altLang="en-US" sz="1800" dirty="0"/>
              <a:t> 목록에서 </a:t>
            </a:r>
            <a:r>
              <a:rPr lang="en-US" altLang="ko-KR" sz="1800" dirty="0"/>
              <a:t>Ticket</a:t>
            </a:r>
            <a:r>
              <a:rPr lang="ko-KR" altLang="en-US" sz="1800" dirty="0"/>
              <a:t>별 상세 내용 보기  </a:t>
            </a:r>
            <a:r>
              <a:rPr lang="en-US" altLang="ko-KR" sz="1800" dirty="0"/>
              <a:t>&lt;1/1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41857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6418142"/>
              </p:ext>
            </p:extLst>
          </p:nvPr>
        </p:nvGraphicFramePr>
        <p:xfrm>
          <a:off x="6182223" y="1166632"/>
          <a:ext cx="3304579" cy="22623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077181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927762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75412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상단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Export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75412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CSV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ll </a:t>
                      </a:r>
                      <a:r>
                        <a:rPr lang="en-US" altLang="ko-KR" sz="900" baseline="0" dirty="0" err="1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leds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: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전체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field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Current fields :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화면에 보이는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eld</a:t>
                      </a: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921932"/>
                  </a:ext>
                </a:extLst>
              </a:tr>
              <a:tr h="75412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가지 방법 중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개로 파일 저장 후 열기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aseline="0" dirty="0" smtClean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MS</a:t>
                      </a:r>
                      <a:r>
                        <a:rPr lang="ko-KR" altLang="en-US" sz="900" baseline="0" dirty="0" smtClean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의 보안 정책 규정 변경으로 기존  </a:t>
                      </a:r>
                      <a:r>
                        <a:rPr lang="en-US" altLang="ko-KR" sz="900" baseline="0" dirty="0" smtClean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Excel export</a:t>
                      </a:r>
                      <a:r>
                        <a:rPr lang="ko-KR" altLang="en-US" sz="900" baseline="0" dirty="0" smtClean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가 제조사로부터 변경됨</a:t>
                      </a:r>
                      <a:endParaRPr lang="en-US" altLang="ko-KR" sz="900" baseline="0" dirty="0" smtClean="0">
                        <a:solidFill>
                          <a:srgbClr val="0000CC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aseline="0" dirty="0" smtClean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CSV </a:t>
                      </a:r>
                      <a:r>
                        <a:rPr lang="ko-KR" altLang="en-US" sz="900" baseline="0" dirty="0" smtClean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파일로 다운로드 가능</a:t>
                      </a:r>
                      <a:endParaRPr lang="en-US" altLang="ko-KR" sz="900" baseline="0" dirty="0" smtClean="0">
                        <a:solidFill>
                          <a:srgbClr val="0000CC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aseline="0" dirty="0" smtClean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=&gt; </a:t>
                      </a:r>
                      <a:r>
                        <a:rPr lang="ko-KR" altLang="en-US" sz="900" baseline="0" dirty="0" smtClean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상세 내용</a:t>
                      </a:r>
                      <a:r>
                        <a:rPr lang="en-US" altLang="ko-KR" sz="900" baseline="0" dirty="0" smtClean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: </a:t>
                      </a:r>
                      <a:r>
                        <a:rPr lang="ko-KR" altLang="en-US" sz="900" baseline="0" dirty="0" smtClean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다음 페이지</a:t>
                      </a:r>
                      <a:endParaRPr lang="en-US" altLang="ko-KR" sz="900" baseline="0" dirty="0" smtClean="0">
                        <a:solidFill>
                          <a:srgbClr val="0000CC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141013"/>
                  </a:ext>
                </a:extLst>
              </a:tr>
            </a:tbl>
          </a:graphicData>
        </a:graphic>
      </p:graphicFrame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2"/>
          <a:srcRect t="10679" r="1749" b="4072"/>
          <a:stretch/>
        </p:blipFill>
        <p:spPr>
          <a:xfrm>
            <a:off x="411535" y="1166125"/>
            <a:ext cx="5585665" cy="4536455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5146907" y="1436235"/>
            <a:ext cx="439548" cy="14317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7" name="타원 6"/>
          <p:cNvSpPr/>
          <p:nvPr/>
        </p:nvSpPr>
        <p:spPr>
          <a:xfrm>
            <a:off x="5041933" y="135948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4777168" y="2114563"/>
            <a:ext cx="778331" cy="206966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9" name="타원 8"/>
          <p:cNvSpPr/>
          <p:nvPr/>
        </p:nvSpPr>
        <p:spPr>
          <a:xfrm>
            <a:off x="4652847" y="209972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 rotWithShape="1">
          <a:blip r:embed="rId3"/>
          <a:srcRect l="13929" t="34874" r="38095" b="44809"/>
          <a:stretch/>
        </p:blipFill>
        <p:spPr>
          <a:xfrm>
            <a:off x="5354328" y="4530836"/>
            <a:ext cx="4108691" cy="1325478"/>
          </a:xfrm>
          <a:prstGeom prst="rect">
            <a:avLst/>
          </a:prstGeom>
          <a:ln w="38100">
            <a:solidFill>
              <a:srgbClr val="00B0F0"/>
            </a:solidFill>
            <a:prstDash val="sysDot"/>
          </a:ln>
        </p:spPr>
      </p:pic>
      <p:sp>
        <p:nvSpPr>
          <p:cNvPr id="12" name="타원 11"/>
          <p:cNvSpPr/>
          <p:nvPr/>
        </p:nvSpPr>
        <p:spPr>
          <a:xfrm>
            <a:off x="5592802" y="446441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4" name="TextBox 13">
            <a:hlinkClick r:id="rId4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3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af-ZA" altLang="ko-KR" sz="1800" dirty="0"/>
              <a:t>Filter</a:t>
            </a:r>
            <a:r>
              <a:rPr lang="ko-KR" altLang="en-US" sz="1800" dirty="0"/>
              <a:t> 목록 다운로드  </a:t>
            </a:r>
            <a:r>
              <a:rPr lang="en-US" altLang="ko-KR" sz="1800" dirty="0"/>
              <a:t>&lt;</a:t>
            </a:r>
            <a:r>
              <a:rPr lang="en-US" altLang="ko-KR" sz="1800" dirty="0" smtClean="0"/>
              <a:t>1/3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6790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131826"/>
              </p:ext>
            </p:extLst>
          </p:nvPr>
        </p:nvGraphicFramePr>
        <p:xfrm>
          <a:off x="422756" y="1321398"/>
          <a:ext cx="9064047" cy="2427070"/>
        </p:xfrm>
        <a:graphic>
          <a:graphicData uri="http://schemas.openxmlformats.org/drawingml/2006/table">
            <a:tbl>
              <a:tblPr firstRow="1" firstCol="1" bandRow="1"/>
              <a:tblGrid>
                <a:gridCol w="704948">
                  <a:extLst>
                    <a:ext uri="{9D8B030D-6E8A-4147-A177-3AD203B41FA5}">
                      <a16:colId xmlns:a16="http://schemas.microsoft.com/office/drawing/2014/main" val="2396534938"/>
                    </a:ext>
                  </a:extLst>
                </a:gridCol>
                <a:gridCol w="1518781">
                  <a:extLst>
                    <a:ext uri="{9D8B030D-6E8A-4147-A177-3AD203B41FA5}">
                      <a16:colId xmlns:a16="http://schemas.microsoft.com/office/drawing/2014/main" val="2364518296"/>
                    </a:ext>
                  </a:extLst>
                </a:gridCol>
                <a:gridCol w="3156438">
                  <a:extLst>
                    <a:ext uri="{9D8B030D-6E8A-4147-A177-3AD203B41FA5}">
                      <a16:colId xmlns:a16="http://schemas.microsoft.com/office/drawing/2014/main" val="2132536359"/>
                    </a:ext>
                  </a:extLst>
                </a:gridCol>
                <a:gridCol w="3024602">
                  <a:extLst>
                    <a:ext uri="{9D8B030D-6E8A-4147-A177-3AD203B41FA5}">
                      <a16:colId xmlns:a16="http://schemas.microsoft.com/office/drawing/2014/main" val="1085621392"/>
                    </a:ext>
                  </a:extLst>
                </a:gridCol>
                <a:gridCol w="659278">
                  <a:extLst>
                    <a:ext uri="{9D8B030D-6E8A-4147-A177-3AD203B41FA5}">
                      <a16:colId xmlns:a16="http://schemas.microsoft.com/office/drawing/2014/main" val="766504764"/>
                    </a:ext>
                  </a:extLst>
                </a:gridCol>
              </a:tblGrid>
              <a:tr h="249820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900" kern="100" baseline="0" dirty="0" smtClean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구분</a:t>
                      </a:r>
                      <a:endParaRPr lang="ko-KR" sz="90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900" kern="100" baseline="0" dirty="0" smtClean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JIRA Project</a:t>
                      </a:r>
                      <a:endParaRPr lang="ko-KR" sz="90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endParaRPr lang="ko-KR" sz="105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55638" marR="55638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900" kern="100" baseline="0" dirty="0" smtClean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Dashboard</a:t>
                      </a:r>
                      <a:endParaRPr lang="ko-KR" sz="90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900" kern="100" baseline="0" dirty="0" smtClean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비고</a:t>
                      </a:r>
                      <a:endParaRPr lang="ko-KR" sz="90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7881734"/>
                  </a:ext>
                </a:extLst>
              </a:tr>
              <a:tr h="725750">
                <a:tc row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900" b="1" kern="100" baseline="0" dirty="0" smtClean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JIRA</a:t>
                      </a:r>
                      <a:endParaRPr lang="ko-KR" sz="90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en-US" sz="900" kern="100" baseline="0" dirty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[DDI] Cloud TF Issue </a:t>
                      </a:r>
                      <a:r>
                        <a:rPr lang="ko-KR" sz="900" kern="100" baseline="0" dirty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관리</a:t>
                      </a: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en-US" sz="900" u="sng" kern="100" baseline="0" dirty="0">
                          <a:solidFill>
                            <a:srgbClr val="0000CC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  <a:hlinkClick r:id="rId2"/>
                        </a:rPr>
                        <a:t>https://jira.d-platform.doosan.com/projects/DCTI/summary</a:t>
                      </a:r>
                      <a:endParaRPr lang="ko-KR" sz="900" kern="100" baseline="0" dirty="0">
                        <a:solidFill>
                          <a:srgbClr val="0000CC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af-ZA" altLang="ko-KR" sz="900" dirty="0" smtClean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hlinkClick r:id="rId3"/>
                        </a:rPr>
                        <a:t>https://jira.d-platform.doosan.com/secure/Dashboard.jspa?selectPageId=10204#</a:t>
                      </a:r>
                      <a:endParaRPr lang="ko-KR" sz="900" kern="100" baseline="0" dirty="0">
                        <a:solidFill>
                          <a:srgbClr val="0000CC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endParaRPr lang="ko-KR" sz="90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388362"/>
                  </a:ext>
                </a:extLst>
              </a:tr>
              <a:tr h="7257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en-US" sz="800" i="1" kern="100" baseline="0" dirty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[DDI] Cloud TF CMDB </a:t>
                      </a:r>
                      <a:r>
                        <a:rPr lang="ko-KR" sz="800" i="1" kern="100" baseline="0" dirty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관리</a:t>
                      </a: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en-US" sz="800" i="1" u="sng" kern="100" baseline="0" dirty="0">
                          <a:solidFill>
                            <a:srgbClr val="0563C1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  <a:hlinkClick r:id="rId4"/>
                        </a:rPr>
                        <a:t>https://jira.d-platform.doosan.com/projects/DACT/summary</a:t>
                      </a:r>
                      <a:r>
                        <a:rPr lang="en-US" sz="800" i="1" kern="100" baseline="0" dirty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 </a:t>
                      </a:r>
                      <a:endParaRPr lang="ko-KR" sz="800" i="1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af-ZA" altLang="ko-KR" sz="800" i="1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hlinkClick r:id="rId5"/>
                        </a:rPr>
                        <a:t>https://jira.d-platform.doosan.com/secure/Dashboard.jspa?selectPageId=10200</a:t>
                      </a:r>
                      <a:endParaRPr lang="ko-KR" sz="800" i="1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ko-KR" altLang="en-US" sz="800" kern="100" baseline="0" dirty="0" smtClean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세팅</a:t>
                      </a:r>
                      <a:r>
                        <a:rPr lang="en-US" altLang="ko-KR" sz="800" kern="100" baseline="0" dirty="0" smtClean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800" kern="100" baseline="0" dirty="0" smtClean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작업 중</a:t>
                      </a:r>
                      <a:endParaRPr lang="ko-KR" sz="80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8692953"/>
                  </a:ext>
                </a:extLst>
              </a:tr>
              <a:tr h="725750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800" b="1" kern="100" baseline="0" dirty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Confluence</a:t>
                      </a:r>
                      <a:endParaRPr lang="ko-KR" sz="80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en-US" sz="800" kern="100" baseline="0" dirty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[DDI] Cloud TF CMDB </a:t>
                      </a:r>
                      <a:r>
                        <a:rPr lang="ko-KR" sz="800" kern="100" baseline="0" dirty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관리</a:t>
                      </a: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en-US" sz="800" u="sng" kern="100" baseline="0" dirty="0">
                          <a:solidFill>
                            <a:srgbClr val="0563C1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  <a:hlinkClick r:id="rId6"/>
                        </a:rPr>
                        <a:t>https://confluence.d-platform.doosan.com/pages/viewpage.action?pageId=1770509&amp;src=sidebar</a:t>
                      </a:r>
                      <a:r>
                        <a:rPr lang="en-US" sz="800" kern="100" baseline="0" dirty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 </a:t>
                      </a:r>
                      <a:endParaRPr lang="ko-KR" sz="80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endParaRPr lang="ko-KR" sz="105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55638" marR="55638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ko-KR" altLang="en-US" sz="800" kern="100" baseline="0" dirty="0" smtClean="0"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굴림" panose="020B0600000101010101" pitchFamily="50" charset="-127"/>
                        </a:rPr>
                        <a:t>참고</a:t>
                      </a:r>
                      <a:endParaRPr lang="ko-KR" sz="800" kern="100" baseline="0" dirty="0"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굴림" panose="020B0600000101010101" pitchFamily="50" charset="-127"/>
                      </a:endParaRPr>
                    </a:p>
                  </a:txBody>
                  <a:tcPr marL="45206" marR="45206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3303676"/>
                  </a:ext>
                </a:extLst>
              </a:tr>
            </a:tbl>
          </a:graphicData>
        </a:graphic>
      </p:graphicFrame>
      <p:sp>
        <p:nvSpPr>
          <p:cNvPr id="11" name="TextBox 10">
            <a:hlinkClick r:id="rId7" action="ppaction://hlinksldjump"/>
          </p:cNvPr>
          <p:cNvSpPr txBox="1"/>
          <p:nvPr/>
        </p:nvSpPr>
        <p:spPr>
          <a:xfrm flipH="1">
            <a:off x="8477210" y="371590"/>
            <a:ext cx="1010267" cy="184170"/>
          </a:xfrm>
          <a:prstGeom prst="homePlat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6" name="TextBox 5"/>
          <p:cNvSpPr txBox="1"/>
          <p:nvPr/>
        </p:nvSpPr>
        <p:spPr>
          <a:xfrm>
            <a:off x="427745" y="3991914"/>
            <a:ext cx="905905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①</a:t>
            </a:r>
            <a:r>
              <a:rPr lang="en-US" altLang="ko-KR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r>
              <a:rPr lang="en-US" altLang="ko-KR" sz="1200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JIRA </a:t>
            </a:r>
            <a:r>
              <a:rPr lang="ko-KR" altLang="en-US" sz="1200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계정 발급이 된 사용자라도</a:t>
            </a:r>
            <a:r>
              <a:rPr lang="en-US" altLang="ko-KR" sz="1200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r>
              <a:rPr lang="ko-KR" altLang="en-US" sz="1200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로그인 이력이 없는 경우에는 조회되지 않음</a:t>
            </a:r>
            <a:r>
              <a:rPr lang="en-US" altLang="ko-KR" sz="1200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.  1</a:t>
            </a:r>
            <a:r>
              <a:rPr lang="ko-KR" altLang="en-US" sz="1200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회 이상 로그인 이후에만 사용자 확인 및 권한 부여 가능</a:t>
            </a:r>
            <a:endParaRPr lang="en-US" altLang="ko-KR" sz="1200" dirty="0">
              <a:solidFill>
                <a:srgbClr val="0000CC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r>
              <a:rPr lang="en-US" altLang="ko-KR" sz="1200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  </a:t>
            </a:r>
            <a:r>
              <a:rPr lang="ko-KR" altLang="en-US" sz="1200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→ 이슈 담당자로 지정하기 위해서는 반드시 로그인 이력이 있어야 함</a:t>
            </a:r>
            <a:r>
              <a:rPr lang="en-US" altLang="ko-KR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.</a:t>
            </a:r>
          </a:p>
          <a:p>
            <a:endParaRPr lang="en-US" altLang="ko-KR" sz="1200" dirty="0">
              <a:solidFill>
                <a:srgbClr val="0000CC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r>
              <a:rPr lang="ko-KR" altLang="en-US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② 전체 사용자 로그인 이력 확인 후 필요에 따라 메뉴 권한 부여 예정</a:t>
            </a:r>
            <a:endParaRPr lang="en-US" altLang="ko-KR" sz="1200" dirty="0" smtClean="0">
              <a:solidFill>
                <a:srgbClr val="0000CC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endParaRPr lang="en-US" altLang="ko-KR" sz="1200" dirty="0">
              <a:solidFill>
                <a:srgbClr val="0000CC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r>
              <a:rPr lang="ko-KR" altLang="en-US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③ 신규 이슈 발생 시에는 </a:t>
            </a:r>
            <a:r>
              <a:rPr lang="ko-KR" altLang="en-US" sz="1200" dirty="0" err="1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건별</a:t>
            </a:r>
            <a:r>
              <a:rPr lang="ko-KR" altLang="en-US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r>
              <a:rPr lang="en-US" altLang="ko-KR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</a:t>
            </a:r>
            <a:r>
              <a:rPr lang="ko-KR" altLang="en-US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등록으로 처리하며</a:t>
            </a:r>
            <a:r>
              <a:rPr lang="en-US" altLang="ko-KR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, </a:t>
            </a:r>
            <a:r>
              <a:rPr lang="ko-KR" altLang="en-US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대량 데이터 등록은 </a:t>
            </a:r>
            <a:r>
              <a:rPr lang="en-US" altLang="ko-KR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csv </a:t>
            </a:r>
            <a:r>
              <a:rPr lang="ko-KR" altLang="en-US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파일로 </a:t>
            </a:r>
            <a:r>
              <a:rPr lang="en-US" altLang="ko-KR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Upload </a:t>
            </a:r>
            <a:r>
              <a:rPr lang="ko-KR" altLang="en-US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작업 필요</a:t>
            </a:r>
            <a:endParaRPr lang="en-US" altLang="ko-KR" sz="1200" dirty="0" smtClean="0">
              <a:solidFill>
                <a:srgbClr val="0000CC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r>
              <a:rPr lang="en-US" altLang="ko-KR" sz="1200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r>
              <a:rPr lang="en-US" altLang="ko-KR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 </a:t>
            </a:r>
            <a:r>
              <a:rPr lang="ko-KR" altLang="en-US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→ </a:t>
            </a:r>
            <a:r>
              <a:rPr lang="en-US" altLang="ko-KR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csv </a:t>
            </a:r>
            <a:r>
              <a:rPr lang="ko-KR" altLang="en-US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파일 작성 후 서버 관리자</a:t>
            </a:r>
            <a:r>
              <a:rPr lang="en-US" altLang="ko-KR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(JIRA Engineer)</a:t>
            </a:r>
            <a:r>
              <a:rPr lang="ko-KR" altLang="en-US" sz="1200" dirty="0" smtClean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에게 요청하여 처리 예정</a:t>
            </a:r>
            <a:endParaRPr lang="en-US" altLang="ko-KR" sz="1200" dirty="0">
              <a:solidFill>
                <a:srgbClr val="0000CC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7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en-US" altLang="ko-KR" sz="1800" kern="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JIRA </a:t>
            </a:r>
            <a:r>
              <a:rPr lang="ko-KR" altLang="en-US" sz="1800" kern="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접속  </a:t>
            </a:r>
            <a:r>
              <a:rPr lang="en-US" altLang="ko-KR" sz="1800" kern="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(※ </a:t>
            </a:r>
            <a:r>
              <a:rPr lang="ko-KR" altLang="en-US" sz="1800" kern="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로그인 </a:t>
            </a:r>
            <a:r>
              <a:rPr lang="en-US" altLang="ko-KR" sz="1800" kern="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: AD </a:t>
            </a:r>
            <a:r>
              <a:rPr lang="ko-KR" altLang="en-US" sz="1800" kern="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계정</a:t>
            </a:r>
            <a:r>
              <a:rPr lang="en-US" altLang="ko-KR" sz="1800" kern="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)   &lt;1/1&gt;</a:t>
            </a:r>
            <a:endParaRPr lang="ko-KR" altLang="en-US" sz="1800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6467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그림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476" y="2520181"/>
            <a:ext cx="5086278" cy="1607607"/>
          </a:xfrm>
          <a:prstGeom prst="rect">
            <a:avLst/>
          </a:prstGeom>
        </p:spPr>
      </p:pic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940201"/>
              </p:ext>
            </p:extLst>
          </p:nvPr>
        </p:nvGraphicFramePr>
        <p:xfrm>
          <a:off x="6182898" y="1160463"/>
          <a:ext cx="3304579" cy="47164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2136361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868582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5240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0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엑셀 실행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384569"/>
                  </a:ext>
                </a:extLst>
              </a:tr>
              <a:tr h="5240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데이터 메뉴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5240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텍스트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921932"/>
                  </a:ext>
                </a:extLst>
              </a:tr>
              <a:tr h="5240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가져올 파일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solidFill>
                          <a:srgbClr val="0000CC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141013"/>
                  </a:ext>
                </a:extLst>
              </a:tr>
              <a:tr h="5240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가져오기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solidFill>
                          <a:srgbClr val="0000CC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218639"/>
                  </a:ext>
                </a:extLst>
              </a:tr>
              <a:tr h="5240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5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UTF-8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&gt;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마침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solidFill>
                          <a:srgbClr val="0000CC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929008"/>
                  </a:ext>
                </a:extLst>
              </a:tr>
              <a:tr h="5240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6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다음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&gt;&gt;&gt;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마침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solidFill>
                          <a:srgbClr val="0000CC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990906"/>
                  </a:ext>
                </a:extLst>
              </a:tr>
              <a:tr h="5240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7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위치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.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현재 파일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or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새로운 파일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solidFill>
                          <a:srgbClr val="0000CC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754900"/>
                  </a:ext>
                </a:extLst>
              </a:tr>
              <a:tr h="5240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8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확인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solidFill>
                          <a:srgbClr val="0000CC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6340663"/>
                  </a:ext>
                </a:extLst>
              </a:tr>
            </a:tbl>
          </a:graphicData>
        </a:graphic>
      </p:graphicFrame>
      <p:pic>
        <p:nvPicPr>
          <p:cNvPr id="11" name="그림 10"/>
          <p:cNvPicPr>
            <a:picLocks noChangeAspect="1"/>
          </p:cNvPicPr>
          <p:nvPr/>
        </p:nvPicPr>
        <p:blipFill rotWithShape="1">
          <a:blip r:embed="rId3"/>
          <a:srcRect l="15477" t="36603" r="25156" b="56559"/>
          <a:stretch/>
        </p:blipFill>
        <p:spPr>
          <a:xfrm>
            <a:off x="416379" y="1192933"/>
            <a:ext cx="5592535" cy="490683"/>
          </a:xfrm>
          <a:prstGeom prst="rect">
            <a:avLst/>
          </a:prstGeom>
          <a:ln w="38100">
            <a:solidFill>
              <a:srgbClr val="00B0F0"/>
            </a:solidFill>
            <a:prstDash val="sysDot"/>
          </a:ln>
        </p:spPr>
      </p:pic>
      <p:sp>
        <p:nvSpPr>
          <p:cNvPr id="14" name="TextBox 13">
            <a:hlinkClick r:id="rId4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3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af-ZA" altLang="ko-KR" sz="1800" dirty="0"/>
              <a:t>Filter</a:t>
            </a:r>
            <a:r>
              <a:rPr lang="ko-KR" altLang="en-US" sz="1800" dirty="0"/>
              <a:t> 목록 다운로드  </a:t>
            </a:r>
            <a:r>
              <a:rPr lang="en-US" altLang="ko-KR" sz="1800" dirty="0" smtClean="0"/>
              <a:t>&lt;2/3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5"/>
          <a:srcRect l="600" t="2553" r="48796" b="85918"/>
          <a:stretch/>
        </p:blipFill>
        <p:spPr>
          <a:xfrm>
            <a:off x="427265" y="1799776"/>
            <a:ext cx="5581650" cy="736414"/>
          </a:xfrm>
          <a:prstGeom prst="rect">
            <a:avLst/>
          </a:prstGeom>
        </p:spPr>
      </p:pic>
      <p:sp>
        <p:nvSpPr>
          <p:cNvPr id="19" name="직사각형 18"/>
          <p:cNvSpPr/>
          <p:nvPr/>
        </p:nvSpPr>
        <p:spPr>
          <a:xfrm>
            <a:off x="2309476" y="1825176"/>
            <a:ext cx="439548" cy="14317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0" name="타원 19"/>
          <p:cNvSpPr/>
          <p:nvPr/>
        </p:nvSpPr>
        <p:spPr>
          <a:xfrm>
            <a:off x="2240223" y="181748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902926" y="1968351"/>
            <a:ext cx="299605" cy="44464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2" name="타원 21"/>
          <p:cNvSpPr/>
          <p:nvPr/>
        </p:nvSpPr>
        <p:spPr>
          <a:xfrm>
            <a:off x="797952" y="1891599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1352444" y="3475262"/>
            <a:ext cx="1821761" cy="108363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5" name="타원 24"/>
          <p:cNvSpPr/>
          <p:nvPr/>
        </p:nvSpPr>
        <p:spPr>
          <a:xfrm>
            <a:off x="1221278" y="340327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4383779" y="3932358"/>
            <a:ext cx="497788" cy="1322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8" name="타원 27"/>
          <p:cNvSpPr/>
          <p:nvPr/>
        </p:nvSpPr>
        <p:spPr>
          <a:xfrm>
            <a:off x="4281184" y="392837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30" name="그림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752" y="3921343"/>
            <a:ext cx="3496928" cy="2814463"/>
          </a:xfrm>
          <a:prstGeom prst="rect">
            <a:avLst/>
          </a:prstGeom>
        </p:spPr>
      </p:pic>
      <p:sp>
        <p:nvSpPr>
          <p:cNvPr id="31" name="직사각형 30"/>
          <p:cNvSpPr/>
          <p:nvPr/>
        </p:nvSpPr>
        <p:spPr>
          <a:xfrm>
            <a:off x="2209186" y="5388285"/>
            <a:ext cx="1020602" cy="1322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2" name="타원 31"/>
          <p:cNvSpPr/>
          <p:nvPr/>
        </p:nvSpPr>
        <p:spPr>
          <a:xfrm>
            <a:off x="2106591" y="5384301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5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33" name="그림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63937" y="4275434"/>
            <a:ext cx="2244467" cy="2049296"/>
          </a:xfrm>
          <a:prstGeom prst="rect">
            <a:avLst/>
          </a:prstGeom>
        </p:spPr>
      </p:pic>
      <p:sp>
        <p:nvSpPr>
          <p:cNvPr id="34" name="직사각형 33"/>
          <p:cNvSpPr/>
          <p:nvPr/>
        </p:nvSpPr>
        <p:spPr>
          <a:xfrm>
            <a:off x="3853344" y="5357753"/>
            <a:ext cx="1546513" cy="48028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5" name="타원 34"/>
          <p:cNvSpPr/>
          <p:nvPr/>
        </p:nvSpPr>
        <p:spPr>
          <a:xfrm>
            <a:off x="3782500" y="5341069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7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4881464" y="6082106"/>
            <a:ext cx="556833" cy="19486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39" name="타원 38"/>
          <p:cNvSpPr/>
          <p:nvPr/>
        </p:nvSpPr>
        <p:spPr>
          <a:xfrm>
            <a:off x="4778870" y="6078122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8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2904382" y="6508218"/>
            <a:ext cx="1007536" cy="19486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41" name="타원 40"/>
          <p:cNvSpPr/>
          <p:nvPr/>
        </p:nvSpPr>
        <p:spPr>
          <a:xfrm>
            <a:off x="2801788" y="6504234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6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38870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hlinkClick r:id="rId2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3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af-ZA" altLang="ko-KR" sz="1800" dirty="0"/>
              <a:t>Filter</a:t>
            </a:r>
            <a:r>
              <a:rPr lang="ko-KR" altLang="en-US" sz="1800" dirty="0"/>
              <a:t> 목록 다운로드  </a:t>
            </a:r>
            <a:r>
              <a:rPr lang="en-US" altLang="ko-KR" sz="1800" dirty="0" smtClean="0"/>
              <a:t>&lt;3/3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 rotWithShape="1">
          <a:blip r:embed="rId3"/>
          <a:srcRect l="15667" t="46129" r="25106" b="45410"/>
          <a:stretch/>
        </p:blipFill>
        <p:spPr>
          <a:xfrm>
            <a:off x="420952" y="1188239"/>
            <a:ext cx="5579534" cy="607219"/>
          </a:xfrm>
          <a:prstGeom prst="rect">
            <a:avLst/>
          </a:prstGeom>
          <a:ln w="38100">
            <a:solidFill>
              <a:srgbClr val="00B0F0"/>
            </a:solidFill>
            <a:prstDash val="sysDot"/>
          </a:ln>
        </p:spPr>
      </p:pic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4"/>
          <a:srcRect l="8550" t="26986" r="67251" b="45586"/>
          <a:stretch/>
        </p:blipFill>
        <p:spPr>
          <a:xfrm>
            <a:off x="431799" y="1905685"/>
            <a:ext cx="5495925" cy="1727201"/>
          </a:xfrm>
          <a:prstGeom prst="rect">
            <a:avLst/>
          </a:prstGeom>
        </p:spPr>
      </p:pic>
      <p:graphicFrame>
        <p:nvGraphicFramePr>
          <p:cNvPr id="15" name="표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4718909"/>
              </p:ext>
            </p:extLst>
          </p:nvPr>
        </p:nvGraphicFramePr>
        <p:xfrm>
          <a:off x="6182898" y="1160463"/>
          <a:ext cx="3304579" cy="239004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239785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60708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4780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탐색기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&gt;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파일 선택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&gt;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연결 프로그램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384569"/>
                  </a:ext>
                </a:extLst>
              </a:tr>
              <a:tr h="4780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메모장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4780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다른 이름으로 저장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921932"/>
                  </a:ext>
                </a:extLst>
              </a:tr>
              <a:tr h="4780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kern="1200" baseline="0" dirty="0" err="1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인코딩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 </a:t>
                      </a: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&gt; ANSI 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선택</a:t>
                      </a: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141013"/>
                  </a:ext>
                </a:extLst>
              </a:tr>
              <a:tr h="4780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5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  <a:cs typeface="+mn-cs"/>
                        </a:rPr>
                        <a:t>저장 후 엑셀로 열기</a:t>
                      </a: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  <a:cs typeface="+mn-cs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2772102"/>
                  </a:ext>
                </a:extLst>
              </a:tr>
            </a:tbl>
          </a:graphicData>
        </a:graphic>
      </p:graphicFrame>
      <p:sp>
        <p:nvSpPr>
          <p:cNvPr id="19" name="직사각형 18"/>
          <p:cNvSpPr/>
          <p:nvPr/>
        </p:nvSpPr>
        <p:spPr>
          <a:xfrm>
            <a:off x="2074971" y="3226837"/>
            <a:ext cx="928580" cy="13866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0" name="타원 19"/>
          <p:cNvSpPr/>
          <p:nvPr/>
        </p:nvSpPr>
        <p:spPr>
          <a:xfrm>
            <a:off x="2004129" y="321199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4043469" y="3368431"/>
            <a:ext cx="683310" cy="13866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2" name="타원 21"/>
          <p:cNvSpPr/>
          <p:nvPr/>
        </p:nvSpPr>
        <p:spPr>
          <a:xfrm>
            <a:off x="3972627" y="3353590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5"/>
          <a:srcRect l="2364" t="8072" r="82685" b="59841"/>
          <a:stretch/>
        </p:blipFill>
        <p:spPr>
          <a:xfrm>
            <a:off x="425017" y="3550506"/>
            <a:ext cx="2806192" cy="1693864"/>
          </a:xfrm>
          <a:prstGeom prst="rect">
            <a:avLst/>
          </a:prstGeom>
        </p:spPr>
      </p:pic>
      <p:sp>
        <p:nvSpPr>
          <p:cNvPr id="23" name="직사각형 22"/>
          <p:cNvSpPr/>
          <p:nvPr/>
        </p:nvSpPr>
        <p:spPr>
          <a:xfrm>
            <a:off x="440257" y="4204886"/>
            <a:ext cx="928580" cy="13866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4" name="타원 23"/>
          <p:cNvSpPr/>
          <p:nvPr/>
        </p:nvSpPr>
        <p:spPr>
          <a:xfrm>
            <a:off x="369415" y="419004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6"/>
          <a:srcRect l="2606" t="12686" r="72816" b="32145"/>
          <a:stretch/>
        </p:blipFill>
        <p:spPr>
          <a:xfrm>
            <a:off x="2302621" y="3645969"/>
            <a:ext cx="4613189" cy="2912217"/>
          </a:xfrm>
          <a:prstGeom prst="rect">
            <a:avLst/>
          </a:prstGeom>
        </p:spPr>
      </p:pic>
      <p:sp>
        <p:nvSpPr>
          <p:cNvPr id="25" name="직사각형 24"/>
          <p:cNvSpPr/>
          <p:nvPr/>
        </p:nvSpPr>
        <p:spPr>
          <a:xfrm>
            <a:off x="5048357" y="6146556"/>
            <a:ext cx="309456" cy="13866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6" name="타원 25"/>
          <p:cNvSpPr/>
          <p:nvPr/>
        </p:nvSpPr>
        <p:spPr>
          <a:xfrm>
            <a:off x="4958467" y="613409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5896416" y="6057622"/>
            <a:ext cx="454377" cy="13866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28" name="타원 27"/>
          <p:cNvSpPr/>
          <p:nvPr/>
        </p:nvSpPr>
        <p:spPr>
          <a:xfrm>
            <a:off x="5863677" y="5978486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5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548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1769276"/>
              </p:ext>
            </p:extLst>
          </p:nvPr>
        </p:nvGraphicFramePr>
        <p:xfrm>
          <a:off x="6182223" y="1166714"/>
          <a:ext cx="3304579" cy="16374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5458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우측 상단 </a:t>
                      </a:r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User Profile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5458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Profile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  <a:tr h="5458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Preferences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수정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367211"/>
                  </a:ext>
                </a:extLst>
              </a:tr>
            </a:tbl>
          </a:graphicData>
        </a:graphic>
      </p:graphicFrame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t="10663" r="1803" b="77393"/>
          <a:stretch/>
        </p:blipFill>
        <p:spPr>
          <a:xfrm>
            <a:off x="426582" y="1167369"/>
            <a:ext cx="5578931" cy="629643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5692131" y="1158626"/>
            <a:ext cx="309514" cy="1787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7" name="타원 6"/>
          <p:cNvSpPr/>
          <p:nvPr/>
        </p:nvSpPr>
        <p:spPr>
          <a:xfrm>
            <a:off x="5566166" y="1141619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5245202" y="1372397"/>
            <a:ext cx="729354" cy="13431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9" name="타원 8"/>
          <p:cNvSpPr/>
          <p:nvPr/>
        </p:nvSpPr>
        <p:spPr>
          <a:xfrm>
            <a:off x="5128910" y="1346703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3"/>
          <a:srcRect t="14672" r="15636" b="26952"/>
          <a:stretch/>
        </p:blipFill>
        <p:spPr>
          <a:xfrm>
            <a:off x="419326" y="2124263"/>
            <a:ext cx="5577342" cy="3580975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>
          <a:xfrm>
            <a:off x="3395051" y="4441727"/>
            <a:ext cx="309514" cy="1787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12" name="타원 11"/>
          <p:cNvSpPr/>
          <p:nvPr/>
        </p:nvSpPr>
        <p:spPr>
          <a:xfrm>
            <a:off x="3269085" y="4424720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3" name="TextBox 12">
            <a:hlinkClick r:id="rId4" action="ppaction://hlinksldjump"/>
          </p:cNvPr>
          <p:cNvSpPr txBox="1"/>
          <p:nvPr/>
        </p:nvSpPr>
        <p:spPr>
          <a:xfrm flipH="1">
            <a:off x="8477210" y="370571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5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1800" dirty="0"/>
              <a:t>언어 변경 </a:t>
            </a:r>
            <a:r>
              <a:rPr lang="en-US" altLang="ko-KR" sz="1800" dirty="0"/>
              <a:t> &lt;1/2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14637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1626500"/>
              </p:ext>
            </p:extLst>
          </p:nvPr>
        </p:nvGraphicFramePr>
        <p:xfrm>
          <a:off x="6182223" y="1166712"/>
          <a:ext cx="3304579" cy="114660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63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20915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284028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57330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언어 선택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57330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Update</a:t>
                      </a: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761857"/>
                  </a:ext>
                </a:extLst>
              </a:tr>
            </a:tbl>
          </a:graphicData>
        </a:graphic>
      </p:graphicFrame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t="10697" r="7179" b="7641"/>
          <a:stretch/>
        </p:blipFill>
        <p:spPr>
          <a:xfrm>
            <a:off x="419200" y="1166714"/>
            <a:ext cx="5578574" cy="4554002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2508929" y="2844438"/>
            <a:ext cx="410632" cy="1787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7" name="타원 6"/>
          <p:cNvSpPr/>
          <p:nvPr/>
        </p:nvSpPr>
        <p:spPr>
          <a:xfrm>
            <a:off x="2382964" y="2827430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4039329" y="5230003"/>
            <a:ext cx="410632" cy="17877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o-KR" altLang="en-US" sz="1463"/>
          </a:p>
        </p:txBody>
      </p:sp>
      <p:sp>
        <p:nvSpPr>
          <p:cNvPr id="9" name="타원 8"/>
          <p:cNvSpPr/>
          <p:nvPr/>
        </p:nvSpPr>
        <p:spPr>
          <a:xfrm>
            <a:off x="3913363" y="5212995"/>
            <a:ext cx="153502" cy="15350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731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731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0" name="TextBox 9">
            <a:hlinkClick r:id="rId3" action="ppaction://hlinksldjump"/>
          </p:cNvPr>
          <p:cNvSpPr txBox="1"/>
          <p:nvPr/>
        </p:nvSpPr>
        <p:spPr>
          <a:xfrm flipH="1">
            <a:off x="8477210" y="370574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2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1800" dirty="0"/>
              <a:t>언어 변경 </a:t>
            </a:r>
            <a:r>
              <a:rPr lang="en-US" altLang="ko-KR" sz="1800" dirty="0"/>
              <a:t> </a:t>
            </a:r>
            <a:r>
              <a:rPr lang="en-US" altLang="ko-KR" sz="1800" dirty="0" smtClean="0"/>
              <a:t>&lt;2/2</a:t>
            </a:r>
            <a:r>
              <a:rPr lang="en-US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9278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hlinkClick r:id="rId2" action="ppaction://hlinksldjump"/>
          </p:cNvPr>
          <p:cNvSpPr txBox="1"/>
          <p:nvPr/>
        </p:nvSpPr>
        <p:spPr>
          <a:xfrm flipH="1">
            <a:off x="8477210" y="370574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8" name="직사각형 7"/>
          <p:cNvSpPr/>
          <p:nvPr/>
        </p:nvSpPr>
        <p:spPr>
          <a:xfrm>
            <a:off x="1492562" y="2217091"/>
            <a:ext cx="1220211" cy="204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이슈 </a:t>
            </a:r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424233" y="2118911"/>
            <a:ext cx="1220211" cy="24774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lter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7236668" y="2290927"/>
            <a:ext cx="1220211" cy="299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Dashboard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616387" y="2340916"/>
            <a:ext cx="1220211" cy="204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이슈 </a:t>
            </a:r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740212" y="2464741"/>
            <a:ext cx="1220211" cy="204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이슈 </a:t>
            </a:r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4420752" y="4083271"/>
            <a:ext cx="1220211" cy="24774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lter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7236023" y="3564596"/>
            <a:ext cx="1220211" cy="299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Dashboard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7235379" y="4463467"/>
            <a:ext cx="1220211" cy="299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Dashboard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1389034" y="2083878"/>
            <a:ext cx="1683603" cy="734511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90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1490085" y="3364020"/>
            <a:ext cx="1220211" cy="204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이슈 </a:t>
            </a:r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1613910" y="3487845"/>
            <a:ext cx="1220211" cy="204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이슈 </a:t>
            </a:r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1737735" y="3611670"/>
            <a:ext cx="1220211" cy="204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이슈 </a:t>
            </a:r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5" name="모서리가 둥근 직사각형 34"/>
          <p:cNvSpPr/>
          <p:nvPr/>
        </p:nvSpPr>
        <p:spPr>
          <a:xfrm>
            <a:off x="1386558" y="3230807"/>
            <a:ext cx="1683603" cy="734511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90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1495038" y="4455228"/>
            <a:ext cx="1220211" cy="204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이슈 </a:t>
            </a:r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1618863" y="4579053"/>
            <a:ext cx="1220211" cy="204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이슈 </a:t>
            </a:r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1742688" y="4702878"/>
            <a:ext cx="1220211" cy="204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이슈 </a:t>
            </a:r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40" name="모서리가 둥근 직사각형 39"/>
          <p:cNvSpPr/>
          <p:nvPr/>
        </p:nvSpPr>
        <p:spPr>
          <a:xfrm>
            <a:off x="1391511" y="4322014"/>
            <a:ext cx="1683603" cy="734511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90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4423691" y="2471337"/>
            <a:ext cx="1220211" cy="24774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lter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4422840" y="2825312"/>
            <a:ext cx="1220211" cy="24774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lter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4421448" y="3386776"/>
            <a:ext cx="1220211" cy="24774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lter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4420906" y="3732392"/>
            <a:ext cx="1220211" cy="24774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lter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cxnSp>
        <p:nvCxnSpPr>
          <p:cNvPr id="54" name="꺾인 연결선 53"/>
          <p:cNvCxnSpPr>
            <a:stCxn id="27" idx="3"/>
            <a:endCxn id="9" idx="1"/>
          </p:cNvCxnSpPr>
          <p:nvPr/>
        </p:nvCxnSpPr>
        <p:spPr>
          <a:xfrm flipV="1">
            <a:off x="3072637" y="2242785"/>
            <a:ext cx="1351596" cy="20834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5" name="꺾인 연결선 54"/>
          <p:cNvCxnSpPr>
            <a:stCxn id="9" idx="3"/>
            <a:endCxn id="12" idx="1"/>
          </p:cNvCxnSpPr>
          <p:nvPr/>
        </p:nvCxnSpPr>
        <p:spPr>
          <a:xfrm>
            <a:off x="5644444" y="2242785"/>
            <a:ext cx="1592224" cy="19803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6" name="꺾인 연결선 55"/>
          <p:cNvCxnSpPr>
            <a:stCxn id="27" idx="3"/>
            <a:endCxn id="49" idx="1"/>
          </p:cNvCxnSpPr>
          <p:nvPr/>
        </p:nvCxnSpPr>
        <p:spPr>
          <a:xfrm>
            <a:off x="3072637" y="2451134"/>
            <a:ext cx="1351054" cy="14407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7" name="꺾인 연결선 56"/>
          <p:cNvCxnSpPr>
            <a:stCxn id="27" idx="3"/>
            <a:endCxn id="50" idx="1"/>
          </p:cNvCxnSpPr>
          <p:nvPr/>
        </p:nvCxnSpPr>
        <p:spPr>
          <a:xfrm>
            <a:off x="3072637" y="2451134"/>
            <a:ext cx="1350203" cy="49805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4" name="꺾인 연결선 63"/>
          <p:cNvCxnSpPr>
            <a:stCxn id="49" idx="3"/>
            <a:endCxn id="12" idx="1"/>
          </p:cNvCxnSpPr>
          <p:nvPr/>
        </p:nvCxnSpPr>
        <p:spPr>
          <a:xfrm flipV="1">
            <a:off x="5643902" y="2440815"/>
            <a:ext cx="1592766" cy="15439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7" name="꺾인 연결선 66"/>
          <p:cNvCxnSpPr>
            <a:stCxn id="50" idx="3"/>
            <a:endCxn id="12" idx="1"/>
          </p:cNvCxnSpPr>
          <p:nvPr/>
        </p:nvCxnSpPr>
        <p:spPr>
          <a:xfrm flipV="1">
            <a:off x="5643051" y="2440815"/>
            <a:ext cx="1593617" cy="50837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2" name="꺾인 연결선 71"/>
          <p:cNvCxnSpPr>
            <a:stCxn id="35" idx="3"/>
            <a:endCxn id="51" idx="1"/>
          </p:cNvCxnSpPr>
          <p:nvPr/>
        </p:nvCxnSpPr>
        <p:spPr>
          <a:xfrm flipV="1">
            <a:off x="3070161" y="3510650"/>
            <a:ext cx="1351287" cy="8741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5" name="꺾인 연결선 74"/>
          <p:cNvCxnSpPr>
            <a:stCxn id="35" idx="3"/>
            <a:endCxn id="52" idx="1"/>
          </p:cNvCxnSpPr>
          <p:nvPr/>
        </p:nvCxnSpPr>
        <p:spPr>
          <a:xfrm>
            <a:off x="3070161" y="3598063"/>
            <a:ext cx="1350745" cy="25820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8" name="꺾인 연결선 77"/>
          <p:cNvCxnSpPr>
            <a:stCxn id="35" idx="3"/>
            <a:endCxn id="23" idx="1"/>
          </p:cNvCxnSpPr>
          <p:nvPr/>
        </p:nvCxnSpPr>
        <p:spPr>
          <a:xfrm>
            <a:off x="3070161" y="3598063"/>
            <a:ext cx="1350591" cy="60908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82" name="직사각형 81"/>
          <p:cNvSpPr/>
          <p:nvPr/>
        </p:nvSpPr>
        <p:spPr>
          <a:xfrm>
            <a:off x="4423770" y="5379072"/>
            <a:ext cx="1220211" cy="24774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lter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4422532" y="4689697"/>
            <a:ext cx="1220211" cy="24774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lter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4423924" y="5035623"/>
            <a:ext cx="1220211" cy="24774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lter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cxnSp>
        <p:nvCxnSpPr>
          <p:cNvPr id="86" name="꺾인 연결선 85"/>
          <p:cNvCxnSpPr>
            <a:stCxn id="40" idx="3"/>
            <a:endCxn id="83" idx="1"/>
          </p:cNvCxnSpPr>
          <p:nvPr/>
        </p:nvCxnSpPr>
        <p:spPr>
          <a:xfrm>
            <a:off x="3075114" y="4689270"/>
            <a:ext cx="1347418" cy="12430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9" name="꺾인 연결선 88"/>
          <p:cNvCxnSpPr>
            <a:stCxn id="40" idx="3"/>
            <a:endCxn id="84" idx="1"/>
          </p:cNvCxnSpPr>
          <p:nvPr/>
        </p:nvCxnSpPr>
        <p:spPr>
          <a:xfrm>
            <a:off x="3075114" y="4689270"/>
            <a:ext cx="1348810" cy="47022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2" name="꺾인 연결선 91"/>
          <p:cNvCxnSpPr>
            <a:stCxn id="40" idx="3"/>
          </p:cNvCxnSpPr>
          <p:nvPr/>
        </p:nvCxnSpPr>
        <p:spPr>
          <a:xfrm>
            <a:off x="3075114" y="4689270"/>
            <a:ext cx="1355979" cy="84130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5" name="꺾인 연결선 94"/>
          <p:cNvCxnSpPr>
            <a:stCxn id="51" idx="3"/>
            <a:endCxn id="12" idx="1"/>
          </p:cNvCxnSpPr>
          <p:nvPr/>
        </p:nvCxnSpPr>
        <p:spPr>
          <a:xfrm flipV="1">
            <a:off x="5641659" y="2440815"/>
            <a:ext cx="1595009" cy="106983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8" name="꺾인 연결선 97"/>
          <p:cNvCxnSpPr>
            <a:stCxn id="52" idx="3"/>
            <a:endCxn id="29" idx="1"/>
          </p:cNvCxnSpPr>
          <p:nvPr/>
        </p:nvCxnSpPr>
        <p:spPr>
          <a:xfrm flipV="1">
            <a:off x="5641117" y="3714484"/>
            <a:ext cx="1594906" cy="14178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5" name="꺾인 연결선 104"/>
          <p:cNvCxnSpPr>
            <a:stCxn id="23" idx="3"/>
            <a:endCxn id="29" idx="1"/>
          </p:cNvCxnSpPr>
          <p:nvPr/>
        </p:nvCxnSpPr>
        <p:spPr>
          <a:xfrm flipV="1">
            <a:off x="5640963" y="3714484"/>
            <a:ext cx="1595060" cy="49266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8" name="꺾인 연결선 107"/>
          <p:cNvCxnSpPr>
            <a:stCxn id="83" idx="3"/>
            <a:endCxn id="30" idx="1"/>
          </p:cNvCxnSpPr>
          <p:nvPr/>
        </p:nvCxnSpPr>
        <p:spPr>
          <a:xfrm flipV="1">
            <a:off x="5642743" y="4613355"/>
            <a:ext cx="1592636" cy="20021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11" name="꺾인 연결선 110"/>
          <p:cNvCxnSpPr>
            <a:stCxn id="84" idx="3"/>
            <a:endCxn id="30" idx="1"/>
          </p:cNvCxnSpPr>
          <p:nvPr/>
        </p:nvCxnSpPr>
        <p:spPr>
          <a:xfrm flipV="1">
            <a:off x="5644135" y="4613355"/>
            <a:ext cx="1591244" cy="54614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14" name="직사각형 113"/>
          <p:cNvSpPr/>
          <p:nvPr/>
        </p:nvSpPr>
        <p:spPr>
          <a:xfrm>
            <a:off x="7236154" y="5195215"/>
            <a:ext cx="1220211" cy="299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Dashboard</a:t>
            </a:r>
            <a:endParaRPr lang="ko-KR" altLang="en-US" sz="900" dirty="0">
              <a:solidFill>
                <a:schemeClr val="bg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cxnSp>
        <p:nvCxnSpPr>
          <p:cNvPr id="115" name="꺾인 연결선 114"/>
          <p:cNvCxnSpPr>
            <a:stCxn id="82" idx="3"/>
            <a:endCxn id="114" idx="1"/>
          </p:cNvCxnSpPr>
          <p:nvPr/>
        </p:nvCxnSpPr>
        <p:spPr>
          <a:xfrm flipV="1">
            <a:off x="5643981" y="5345103"/>
            <a:ext cx="1592173" cy="15784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18" name="꺾인 연결선 117"/>
          <p:cNvCxnSpPr>
            <a:stCxn id="23" idx="3"/>
            <a:endCxn id="30" idx="1"/>
          </p:cNvCxnSpPr>
          <p:nvPr/>
        </p:nvCxnSpPr>
        <p:spPr>
          <a:xfrm>
            <a:off x="5640963" y="4207145"/>
            <a:ext cx="1594416" cy="40621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headEnd type="oval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23" name="직사각형 122"/>
          <p:cNvSpPr/>
          <p:nvPr/>
        </p:nvSpPr>
        <p:spPr>
          <a:xfrm>
            <a:off x="1987237" y="1365630"/>
            <a:ext cx="1220211" cy="272522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75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이슈 </a:t>
            </a:r>
            <a:r>
              <a:rPr lang="en-US" altLang="ko-KR" sz="975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 </a:t>
            </a:r>
            <a:r>
              <a:rPr lang="ko-KR" altLang="en-US" sz="975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등록</a:t>
            </a:r>
          </a:p>
        </p:txBody>
      </p:sp>
      <p:sp>
        <p:nvSpPr>
          <p:cNvPr id="124" name="직사각형 123"/>
          <p:cNvSpPr/>
          <p:nvPr/>
        </p:nvSpPr>
        <p:spPr>
          <a:xfrm>
            <a:off x="3548903" y="1365448"/>
            <a:ext cx="1220211" cy="272522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75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lter </a:t>
            </a:r>
            <a:r>
              <a:rPr lang="ko-KR" altLang="en-US" sz="975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생성</a:t>
            </a:r>
          </a:p>
        </p:txBody>
      </p:sp>
      <p:sp>
        <p:nvSpPr>
          <p:cNvPr id="125" name="직사각형 124"/>
          <p:cNvSpPr/>
          <p:nvPr/>
        </p:nvSpPr>
        <p:spPr>
          <a:xfrm>
            <a:off x="5132700" y="1366918"/>
            <a:ext cx="1220211" cy="272522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75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Dashboard </a:t>
            </a:r>
            <a:r>
              <a:rPr lang="ko-KR" altLang="en-US" sz="975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생성</a:t>
            </a:r>
          </a:p>
        </p:txBody>
      </p:sp>
      <p:sp>
        <p:nvSpPr>
          <p:cNvPr id="126" name="직사각형 125"/>
          <p:cNvSpPr/>
          <p:nvPr/>
        </p:nvSpPr>
        <p:spPr>
          <a:xfrm>
            <a:off x="6700823" y="1366589"/>
            <a:ext cx="1220211" cy="27252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75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lter </a:t>
            </a:r>
            <a:r>
              <a:rPr lang="ko-KR" altLang="en-US" sz="975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조회</a:t>
            </a:r>
          </a:p>
        </p:txBody>
      </p:sp>
      <p:sp>
        <p:nvSpPr>
          <p:cNvPr id="127" name="직사각형 126"/>
          <p:cNvSpPr/>
          <p:nvPr/>
        </p:nvSpPr>
        <p:spPr>
          <a:xfrm>
            <a:off x="8276976" y="1366140"/>
            <a:ext cx="1220211" cy="27252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75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이슈 </a:t>
            </a:r>
            <a:r>
              <a:rPr lang="en-US" altLang="ko-KR" sz="975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icket </a:t>
            </a:r>
            <a:r>
              <a:rPr lang="ko-KR" altLang="en-US" sz="975" dirty="0">
                <a:solidFill>
                  <a:schemeClr val="bg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조회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424181" y="1165145"/>
            <a:ext cx="1220211" cy="2725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75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JIRA Project </a:t>
            </a:r>
            <a:r>
              <a:rPr lang="ko-KR" altLang="en-US" sz="975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생성</a:t>
            </a:r>
          </a:p>
        </p:txBody>
      </p:sp>
      <p:cxnSp>
        <p:nvCxnSpPr>
          <p:cNvPr id="132" name="직선 화살표 연결선 131"/>
          <p:cNvCxnSpPr>
            <a:stCxn id="123" idx="3"/>
            <a:endCxn id="124" idx="1"/>
          </p:cNvCxnSpPr>
          <p:nvPr/>
        </p:nvCxnSpPr>
        <p:spPr>
          <a:xfrm flipV="1">
            <a:off x="3207448" y="1501709"/>
            <a:ext cx="341455" cy="182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headEnd type="oval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35" name="직선 화살표 연결선 134"/>
          <p:cNvCxnSpPr>
            <a:stCxn id="124" idx="3"/>
            <a:endCxn id="125" idx="1"/>
          </p:cNvCxnSpPr>
          <p:nvPr/>
        </p:nvCxnSpPr>
        <p:spPr>
          <a:xfrm>
            <a:off x="4769114" y="1501709"/>
            <a:ext cx="363586" cy="147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headEnd type="oval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38" name="직선 화살표 연결선 137"/>
          <p:cNvCxnSpPr>
            <a:stCxn id="125" idx="3"/>
            <a:endCxn id="126" idx="1"/>
          </p:cNvCxnSpPr>
          <p:nvPr/>
        </p:nvCxnSpPr>
        <p:spPr>
          <a:xfrm flipV="1">
            <a:off x="6352911" y="1502850"/>
            <a:ext cx="347912" cy="329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headEnd type="oval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41" name="직선 화살표 연결선 140"/>
          <p:cNvCxnSpPr>
            <a:stCxn id="126" idx="3"/>
            <a:endCxn id="127" idx="1"/>
          </p:cNvCxnSpPr>
          <p:nvPr/>
        </p:nvCxnSpPr>
        <p:spPr>
          <a:xfrm flipV="1">
            <a:off x="7921034" y="1502401"/>
            <a:ext cx="355942" cy="449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headEnd type="oval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61" name="TextBox 160"/>
          <p:cNvSpPr txBox="1"/>
          <p:nvPr/>
        </p:nvSpPr>
        <p:spPr>
          <a:xfrm>
            <a:off x="2146638" y="2656027"/>
            <a:ext cx="30008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…</a:t>
            </a:r>
          </a:p>
        </p:txBody>
      </p:sp>
      <p:sp>
        <p:nvSpPr>
          <p:cNvPr id="162" name="TextBox 161"/>
          <p:cNvSpPr txBox="1"/>
          <p:nvPr/>
        </p:nvSpPr>
        <p:spPr>
          <a:xfrm>
            <a:off x="2168926" y="3788687"/>
            <a:ext cx="30008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…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2198643" y="4891629"/>
            <a:ext cx="30008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…</a:t>
            </a:r>
          </a:p>
        </p:txBody>
      </p:sp>
      <p:cxnSp>
        <p:nvCxnSpPr>
          <p:cNvPr id="165" name="꺾인 연결선 164"/>
          <p:cNvCxnSpPr>
            <a:stCxn id="128" idx="3"/>
            <a:endCxn id="123" idx="1"/>
          </p:cNvCxnSpPr>
          <p:nvPr/>
        </p:nvCxnSpPr>
        <p:spPr>
          <a:xfrm>
            <a:off x="1644392" y="1301407"/>
            <a:ext cx="342845" cy="200485"/>
          </a:xfrm>
          <a:prstGeom prst="bentConnector3">
            <a:avLst/>
          </a:prstGeom>
          <a:ln>
            <a:solidFill>
              <a:schemeClr val="bg1">
                <a:lumMod val="85000"/>
              </a:schemeClr>
            </a:solidFill>
            <a:headEnd type="oval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67" name="TextBox 166"/>
          <p:cNvSpPr txBox="1"/>
          <p:nvPr/>
        </p:nvSpPr>
        <p:spPr>
          <a:xfrm>
            <a:off x="4897386" y="3074097"/>
            <a:ext cx="30008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…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4881531" y="4351717"/>
            <a:ext cx="30008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…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4865676" y="5628648"/>
            <a:ext cx="30008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…</a:t>
            </a:r>
          </a:p>
        </p:txBody>
      </p:sp>
      <p:sp>
        <p:nvSpPr>
          <p:cNvPr id="170" name="모서리가 둥근 직사각형 169"/>
          <p:cNvSpPr/>
          <p:nvPr/>
        </p:nvSpPr>
        <p:spPr>
          <a:xfrm>
            <a:off x="416204" y="1933957"/>
            <a:ext cx="9071272" cy="3940910"/>
          </a:xfrm>
          <a:prstGeom prst="roundRect">
            <a:avLst>
              <a:gd name="adj" fmla="val 396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731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68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en-US" altLang="ko-KR" sz="1800" dirty="0" smtClean="0"/>
              <a:t>JIRA </a:t>
            </a:r>
            <a:r>
              <a:rPr lang="ko-KR" altLang="en-US" sz="1800" dirty="0" smtClean="0"/>
              <a:t>이슈 </a:t>
            </a:r>
            <a:r>
              <a:rPr lang="ko-KR" altLang="en-US" sz="1800" dirty="0"/>
              <a:t>관리 </a:t>
            </a:r>
            <a:r>
              <a:rPr lang="ko-KR" altLang="en-US" sz="1800" dirty="0" smtClean="0"/>
              <a:t>개요  </a:t>
            </a:r>
            <a:r>
              <a:rPr lang="en-US" altLang="ko-KR" sz="1800" dirty="0"/>
              <a:t>&lt;1/1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88262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모서리가 둥근 직사각형 45"/>
          <p:cNvSpPr/>
          <p:nvPr/>
        </p:nvSpPr>
        <p:spPr>
          <a:xfrm>
            <a:off x="416205" y="1159596"/>
            <a:ext cx="5021210" cy="2053929"/>
          </a:xfrm>
          <a:prstGeom prst="roundRect">
            <a:avLst>
              <a:gd name="adj" fmla="val 702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90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1" name="TextBox 10">
            <a:hlinkClick r:id="rId2" action="ppaction://hlinksldjump"/>
          </p:cNvPr>
          <p:cNvSpPr txBox="1"/>
          <p:nvPr/>
        </p:nvSpPr>
        <p:spPr>
          <a:xfrm flipH="1">
            <a:off x="8477210" y="370574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9" name="직사각형 8"/>
          <p:cNvSpPr/>
          <p:nvPr/>
        </p:nvSpPr>
        <p:spPr>
          <a:xfrm>
            <a:off x="1060392" y="1552178"/>
            <a:ext cx="1220211" cy="20475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O DO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1061094" y="1875928"/>
            <a:ext cx="1220211" cy="20475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N PROGRESS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061094" y="2200967"/>
            <a:ext cx="1220211" cy="20475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RESOLVED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1061206" y="2529876"/>
            <a:ext cx="1220211" cy="20475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 smtClean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CLOSED</a:t>
            </a:r>
            <a:r>
              <a:rPr lang="en-US" altLang="ko-KR" sz="900" b="1" dirty="0" smtClean="0">
                <a:solidFill>
                  <a:srgbClr val="FF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*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1060392" y="2861365"/>
            <a:ext cx="1220211" cy="20475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REOPENED</a:t>
            </a:r>
            <a:endParaRPr lang="ko-KR" altLang="en-US" sz="9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cxnSp>
        <p:nvCxnSpPr>
          <p:cNvPr id="17" name="직선 화살표 연결선 16"/>
          <p:cNvCxnSpPr>
            <a:stCxn id="9" idx="2"/>
            <a:endCxn id="12" idx="0"/>
          </p:cNvCxnSpPr>
          <p:nvPr/>
        </p:nvCxnSpPr>
        <p:spPr>
          <a:xfrm>
            <a:off x="1670497" y="1756928"/>
            <a:ext cx="703" cy="119000"/>
          </a:xfrm>
          <a:prstGeom prst="straightConnector1">
            <a:avLst/>
          </a:prstGeom>
          <a:ln>
            <a:headEnd type="oval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8" name="직선 화살표 연결선 17"/>
          <p:cNvCxnSpPr>
            <a:stCxn id="12" idx="2"/>
            <a:endCxn id="14" idx="0"/>
          </p:cNvCxnSpPr>
          <p:nvPr/>
        </p:nvCxnSpPr>
        <p:spPr>
          <a:xfrm>
            <a:off x="1671200" y="2080678"/>
            <a:ext cx="0" cy="120289"/>
          </a:xfrm>
          <a:prstGeom prst="straightConnector1">
            <a:avLst/>
          </a:prstGeom>
          <a:ln>
            <a:headEnd type="oval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직선 화살표 연결선 18"/>
          <p:cNvCxnSpPr>
            <a:stCxn id="14" idx="2"/>
            <a:endCxn id="15" idx="0"/>
          </p:cNvCxnSpPr>
          <p:nvPr/>
        </p:nvCxnSpPr>
        <p:spPr>
          <a:xfrm>
            <a:off x="1671200" y="2405717"/>
            <a:ext cx="111" cy="124159"/>
          </a:xfrm>
          <a:prstGeom prst="straightConnector1">
            <a:avLst/>
          </a:prstGeom>
          <a:ln>
            <a:headEnd type="oval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꺾인 연결선 19"/>
          <p:cNvCxnSpPr>
            <a:stCxn id="15" idx="1"/>
            <a:endCxn id="16" idx="1"/>
          </p:cNvCxnSpPr>
          <p:nvPr/>
        </p:nvCxnSpPr>
        <p:spPr>
          <a:xfrm rot="10800000" flipV="1">
            <a:off x="1060392" y="2632250"/>
            <a:ext cx="814" cy="331489"/>
          </a:xfrm>
          <a:prstGeom prst="bentConnector3">
            <a:avLst>
              <a:gd name="adj1" fmla="val 22914371"/>
            </a:avLst>
          </a:prstGeom>
          <a:ln>
            <a:headEnd type="oval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1" name="모서리가 둥근 직사각형 20"/>
          <p:cNvSpPr/>
          <p:nvPr/>
        </p:nvSpPr>
        <p:spPr>
          <a:xfrm>
            <a:off x="3795079" y="1483043"/>
            <a:ext cx="1220211" cy="20475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Unresolved</a:t>
            </a:r>
            <a:endParaRPr lang="ko-KR" altLang="en-US" sz="90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3787340" y="1912298"/>
            <a:ext cx="1220211" cy="20475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xed</a:t>
            </a:r>
            <a:endParaRPr lang="ko-KR" altLang="en-US" sz="90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3787340" y="2156605"/>
            <a:ext cx="1220211" cy="20475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Won't Fix</a:t>
            </a:r>
            <a:endParaRPr lang="ko-KR" altLang="en-US" sz="90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>
            <a:off x="3787340" y="2400911"/>
            <a:ext cx="1220211" cy="20475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Duplicate</a:t>
            </a:r>
            <a:endParaRPr lang="ko-KR" altLang="en-US" sz="90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>
            <a:off x="3787340" y="2645218"/>
            <a:ext cx="1220211" cy="20475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Rejected</a:t>
            </a:r>
            <a:endParaRPr lang="ko-KR" altLang="en-US" sz="90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cxnSp>
        <p:nvCxnSpPr>
          <p:cNvPr id="26" name="꺾인 연결선 25"/>
          <p:cNvCxnSpPr>
            <a:stCxn id="9" idx="3"/>
            <a:endCxn id="32" idx="1"/>
          </p:cNvCxnSpPr>
          <p:nvPr/>
        </p:nvCxnSpPr>
        <p:spPr>
          <a:xfrm flipV="1">
            <a:off x="2280603" y="1585134"/>
            <a:ext cx="1706985" cy="69419"/>
          </a:xfrm>
          <a:prstGeom prst="bentConnector3">
            <a:avLst/>
          </a:prstGeom>
          <a:ln>
            <a:solidFill>
              <a:schemeClr val="bg1">
                <a:lumMod val="75000"/>
              </a:schemeClr>
            </a:solidFill>
            <a:prstDash val="sysDash"/>
            <a:head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" name="꺾인 연결선 26"/>
          <p:cNvCxnSpPr>
            <a:stCxn id="12" idx="3"/>
            <a:endCxn id="32" idx="1"/>
          </p:cNvCxnSpPr>
          <p:nvPr/>
        </p:nvCxnSpPr>
        <p:spPr>
          <a:xfrm flipV="1">
            <a:off x="2281305" y="1585134"/>
            <a:ext cx="1706283" cy="393169"/>
          </a:xfrm>
          <a:prstGeom prst="bentConnector3">
            <a:avLst/>
          </a:prstGeom>
          <a:ln>
            <a:solidFill>
              <a:schemeClr val="bg1">
                <a:lumMod val="75000"/>
              </a:schemeClr>
            </a:solidFill>
            <a:prstDash val="sysDash"/>
            <a:head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꺾인 연결선 27"/>
          <p:cNvCxnSpPr>
            <a:stCxn id="14" idx="3"/>
            <a:endCxn id="32" idx="1"/>
          </p:cNvCxnSpPr>
          <p:nvPr/>
        </p:nvCxnSpPr>
        <p:spPr>
          <a:xfrm flipV="1">
            <a:off x="2281305" y="1585134"/>
            <a:ext cx="1706283" cy="71820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prstDash val="sysDash"/>
            <a:head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9" name="모서리가 둥근 직사각형 28"/>
          <p:cNvSpPr/>
          <p:nvPr/>
        </p:nvSpPr>
        <p:spPr>
          <a:xfrm>
            <a:off x="3726330" y="1864260"/>
            <a:ext cx="1342232" cy="1029356"/>
          </a:xfrm>
          <a:prstGeom prst="roundRect">
            <a:avLst>
              <a:gd name="adj" fmla="val 8058"/>
            </a:avLst>
          </a:prstGeom>
          <a:noFill/>
          <a:ln w="19050">
            <a:prstDash val="sys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90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cxnSp>
        <p:nvCxnSpPr>
          <p:cNvPr id="30" name="꺾인 연결선 29"/>
          <p:cNvCxnSpPr>
            <a:stCxn id="15" idx="3"/>
            <a:endCxn id="29" idx="1"/>
          </p:cNvCxnSpPr>
          <p:nvPr/>
        </p:nvCxnSpPr>
        <p:spPr>
          <a:xfrm flipV="1">
            <a:off x="2281417" y="2378939"/>
            <a:ext cx="1706171" cy="25331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prstDash val="sysDash"/>
            <a:head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꺾인 연결선 30"/>
          <p:cNvCxnSpPr>
            <a:stCxn id="16" idx="3"/>
            <a:endCxn id="32" idx="3"/>
          </p:cNvCxnSpPr>
          <p:nvPr/>
        </p:nvCxnSpPr>
        <p:spPr>
          <a:xfrm flipV="1">
            <a:off x="2280603" y="1585134"/>
            <a:ext cx="2787959" cy="1378606"/>
          </a:xfrm>
          <a:prstGeom prst="bentConnector3">
            <a:avLst>
              <a:gd name="adj1" fmla="val 108200"/>
            </a:avLst>
          </a:prstGeom>
          <a:ln>
            <a:solidFill>
              <a:schemeClr val="bg1">
                <a:lumMod val="75000"/>
              </a:schemeClr>
            </a:solidFill>
            <a:prstDash val="sysDash"/>
            <a:head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2" name="모서리가 둥근 직사각형 31"/>
          <p:cNvSpPr/>
          <p:nvPr/>
        </p:nvSpPr>
        <p:spPr>
          <a:xfrm>
            <a:off x="3726330" y="1444734"/>
            <a:ext cx="1342232" cy="280800"/>
          </a:xfrm>
          <a:prstGeom prst="roundRect">
            <a:avLst/>
          </a:prstGeom>
          <a:noFill/>
          <a:ln w="19050">
            <a:prstDash val="sysDash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90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cxnSp>
        <p:nvCxnSpPr>
          <p:cNvPr id="33" name="직선 화살표 연결선 32"/>
          <p:cNvCxnSpPr>
            <a:stCxn id="15" idx="2"/>
            <a:endCxn id="16" idx="0"/>
          </p:cNvCxnSpPr>
          <p:nvPr/>
        </p:nvCxnSpPr>
        <p:spPr>
          <a:xfrm flipH="1">
            <a:off x="1670497" y="2734626"/>
            <a:ext cx="814" cy="126739"/>
          </a:xfrm>
          <a:prstGeom prst="straightConnector1">
            <a:avLst/>
          </a:prstGeom>
          <a:ln>
            <a:headEnd type="oval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꺾인 연결선 33"/>
          <p:cNvCxnSpPr>
            <a:stCxn id="14" idx="1"/>
            <a:endCxn id="16" idx="1"/>
          </p:cNvCxnSpPr>
          <p:nvPr/>
        </p:nvCxnSpPr>
        <p:spPr>
          <a:xfrm rot="10800000" flipV="1">
            <a:off x="1060393" y="2303342"/>
            <a:ext cx="703" cy="660398"/>
          </a:xfrm>
          <a:prstGeom prst="bentConnector3">
            <a:avLst>
              <a:gd name="adj1" fmla="val 26527746"/>
            </a:avLst>
          </a:prstGeom>
          <a:ln>
            <a:headEnd type="oval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꺾인 연결선 34"/>
          <p:cNvCxnSpPr>
            <a:stCxn id="16" idx="2"/>
            <a:endCxn id="9" idx="1"/>
          </p:cNvCxnSpPr>
          <p:nvPr/>
        </p:nvCxnSpPr>
        <p:spPr>
          <a:xfrm rot="5400000" flipH="1">
            <a:off x="659664" y="2055283"/>
            <a:ext cx="1411562" cy="610105"/>
          </a:xfrm>
          <a:prstGeom prst="bentConnector4">
            <a:avLst>
              <a:gd name="adj1" fmla="val -5482"/>
              <a:gd name="adj2" fmla="val 181183"/>
            </a:avLst>
          </a:prstGeom>
          <a:ln>
            <a:headEnd type="oval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7" name="직사각형 36"/>
          <p:cNvSpPr/>
          <p:nvPr/>
        </p:nvSpPr>
        <p:spPr>
          <a:xfrm>
            <a:off x="1060392" y="1224559"/>
            <a:ext cx="1220211" cy="20475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신규 이슈</a:t>
            </a:r>
            <a:r>
              <a:rPr lang="en-US" altLang="ko-KR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r>
              <a:rPr lang="ko-KR" altLang="en-US" sz="9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등록</a:t>
            </a:r>
          </a:p>
        </p:txBody>
      </p:sp>
      <p:cxnSp>
        <p:nvCxnSpPr>
          <p:cNvPr id="38" name="직선 화살표 연결선 37"/>
          <p:cNvCxnSpPr>
            <a:stCxn id="37" idx="2"/>
            <a:endCxn id="9" idx="0"/>
          </p:cNvCxnSpPr>
          <p:nvPr/>
        </p:nvCxnSpPr>
        <p:spPr>
          <a:xfrm>
            <a:off x="1670497" y="1429308"/>
            <a:ext cx="0" cy="122870"/>
          </a:xfrm>
          <a:prstGeom prst="straightConnector1">
            <a:avLst/>
          </a:prstGeom>
          <a:ln>
            <a:headEnd type="oval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616974"/>
              </p:ext>
            </p:extLst>
          </p:nvPr>
        </p:nvGraphicFramePr>
        <p:xfrm>
          <a:off x="417909" y="3298365"/>
          <a:ext cx="9068992" cy="2583900"/>
        </p:xfrm>
        <a:graphic>
          <a:graphicData uri="http://schemas.openxmlformats.org/drawingml/2006/table">
            <a:tbl>
              <a:tblPr/>
              <a:tblGrid>
                <a:gridCol w="917295">
                  <a:extLst>
                    <a:ext uri="{9D8B030D-6E8A-4147-A177-3AD203B41FA5}">
                      <a16:colId xmlns:a16="http://schemas.microsoft.com/office/drawing/2014/main" val="4014579061"/>
                    </a:ext>
                  </a:extLst>
                </a:gridCol>
                <a:gridCol w="814906">
                  <a:extLst>
                    <a:ext uri="{9D8B030D-6E8A-4147-A177-3AD203B41FA5}">
                      <a16:colId xmlns:a16="http://schemas.microsoft.com/office/drawing/2014/main" val="3133779261"/>
                    </a:ext>
                  </a:extLst>
                </a:gridCol>
                <a:gridCol w="3912915">
                  <a:extLst>
                    <a:ext uri="{9D8B030D-6E8A-4147-A177-3AD203B41FA5}">
                      <a16:colId xmlns:a16="http://schemas.microsoft.com/office/drawing/2014/main" val="4238119972"/>
                    </a:ext>
                  </a:extLst>
                </a:gridCol>
                <a:gridCol w="727149">
                  <a:extLst>
                    <a:ext uri="{9D8B030D-6E8A-4147-A177-3AD203B41FA5}">
                      <a16:colId xmlns:a16="http://schemas.microsoft.com/office/drawing/2014/main" val="2502752998"/>
                    </a:ext>
                  </a:extLst>
                </a:gridCol>
                <a:gridCol w="2696727">
                  <a:extLst>
                    <a:ext uri="{9D8B030D-6E8A-4147-A177-3AD203B41FA5}">
                      <a16:colId xmlns:a16="http://schemas.microsoft.com/office/drawing/2014/main" val="9788537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Owner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Status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solution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96137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porter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O DO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신규 이슈 등록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Ticket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생성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)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Unresolved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미해결 또는 </a:t>
                      </a:r>
                      <a:r>
                        <a:rPr lang="ko-KR" altLang="en-US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미종료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상태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5156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ssignee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IN PROGRESS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담당자에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의해 작업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검토 혹은 조치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진행 중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12557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Assignee(2)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SOLVED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해결 완료</a:t>
                      </a:r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porter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의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확인 대기 중</a:t>
                      </a:r>
                      <a:b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porter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가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확인 후 재수정이 필요한 경우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OPEN,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해결 확인 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CLOSED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처리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af-ZA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205289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porter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CLOSED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해결 내용이 정확할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경우 종료 처리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/>
                      </a:r>
                      <a:b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재작업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필요 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OPEN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처리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Fixed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해당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해결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조치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완료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7508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af-ZA" sz="1000" b="0" i="0" u="none" strike="noStrike" baseline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af-ZA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Won't Fix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해결할 수 없는 이슈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42882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af-ZA" sz="1000" b="0" i="0" u="none" strike="noStrike" baseline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af-ZA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Duplicate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기존 이슈와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중복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 (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중복된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에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Link)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104607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af-ZA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af-ZA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jected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가 아닌 정상인 경우</a:t>
                      </a:r>
                    </a:p>
                    <a:p>
                      <a:pPr algn="l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재현이 되지 않음</a:t>
                      </a:r>
                    </a:p>
                    <a:p>
                      <a:pPr algn="l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를 재현하기 위한 정보가 충분치 않음</a:t>
                      </a:r>
                      <a:b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차후에 더 자세한 정보가 나타날 경우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open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처리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9638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porter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또는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/>
                      </a:r>
                      <a:b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</a:t>
                      </a:r>
                      <a:r>
                        <a:rPr lang="ko-KR" altLang="en-US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연관자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OPENED</a:t>
                      </a:r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가 해결되었으나 그 해결이 부정확하다고 판단되었을 경우</a:t>
                      </a:r>
                      <a:b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예</a:t>
                      </a:r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)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문제가 재현되거나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추가 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확인이 필요한 경우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등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/>
                      </a:r>
                      <a:b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REOPEN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된 이슈는 다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IN PROGRESS, RESOLVED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및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CLOSED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의 상태로 진행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-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-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674885"/>
                  </a:ext>
                </a:extLst>
              </a:tr>
            </a:tbl>
          </a:graphicData>
        </a:graphic>
      </p:graphicFrame>
      <p:sp>
        <p:nvSpPr>
          <p:cNvPr id="36" name="TextBox 35">
            <a:hlinkClick r:id="rId3" action="ppaction://hlinksldjump"/>
          </p:cNvPr>
          <p:cNvSpPr txBox="1"/>
          <p:nvPr/>
        </p:nvSpPr>
        <p:spPr>
          <a:xfrm>
            <a:off x="8571317" y="553835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이슈</a:t>
            </a:r>
            <a:r>
              <a:rPr lang="en-US" altLang="ko-KR" sz="813" dirty="0"/>
              <a:t>Ticket </a:t>
            </a:r>
            <a:r>
              <a:rPr lang="ko-KR" altLang="en-US" sz="813" dirty="0"/>
              <a:t>화면</a:t>
            </a:r>
            <a:endParaRPr lang="en-US" altLang="ko-KR" sz="813" dirty="0"/>
          </a:p>
        </p:txBody>
      </p:sp>
      <p:sp>
        <p:nvSpPr>
          <p:cNvPr id="39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1800" dirty="0"/>
              <a:t>이슈 관리 </a:t>
            </a:r>
            <a:r>
              <a:rPr lang="af-ZA" altLang="ko-KR" sz="1800" dirty="0"/>
              <a:t>Workflow  &lt;1/2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459290" y="3015672"/>
            <a:ext cx="1845378" cy="2235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853" b="1" dirty="0">
                <a:solidFill>
                  <a:srgbClr val="FF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*</a:t>
            </a:r>
            <a:r>
              <a:rPr lang="en-US" altLang="ko-KR" sz="853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: </a:t>
            </a:r>
            <a:r>
              <a:rPr lang="en-US" altLang="ko-KR" sz="853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DDI Cloud PJT </a:t>
            </a:r>
            <a:r>
              <a:rPr lang="ko-KR" altLang="en-US" sz="853" dirty="0" smtClean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확인 후 종료 처리</a:t>
            </a:r>
            <a:endParaRPr lang="en-US" altLang="ko-KR" sz="853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graphicFrame>
        <p:nvGraphicFramePr>
          <p:cNvPr id="41" name="표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190720"/>
              </p:ext>
            </p:extLst>
          </p:nvPr>
        </p:nvGraphicFramePr>
        <p:xfrm>
          <a:off x="5568043" y="1167647"/>
          <a:ext cx="3926136" cy="2045877"/>
        </p:xfrm>
        <a:graphic>
          <a:graphicData uri="http://schemas.openxmlformats.org/drawingml/2006/table">
            <a:tbl>
              <a:tblPr/>
              <a:tblGrid>
                <a:gridCol w="776644">
                  <a:extLst>
                    <a:ext uri="{9D8B030D-6E8A-4147-A177-3AD203B41FA5}">
                      <a16:colId xmlns:a16="http://schemas.microsoft.com/office/drawing/2014/main" val="4014579061"/>
                    </a:ext>
                  </a:extLst>
                </a:gridCol>
                <a:gridCol w="910177">
                  <a:extLst>
                    <a:ext uri="{9D8B030D-6E8A-4147-A177-3AD203B41FA5}">
                      <a16:colId xmlns:a16="http://schemas.microsoft.com/office/drawing/2014/main" val="3133779261"/>
                    </a:ext>
                  </a:extLst>
                </a:gridCol>
                <a:gridCol w="2239315">
                  <a:extLst>
                    <a:ext uri="{9D8B030D-6E8A-4147-A177-3AD203B41FA5}">
                      <a16:colId xmlns:a16="http://schemas.microsoft.com/office/drawing/2014/main" val="3847740740"/>
                    </a:ext>
                  </a:extLst>
                </a:gridCol>
              </a:tblGrid>
              <a:tr h="22223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구분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상세 내용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af-ZA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613767"/>
                  </a:ext>
                </a:extLst>
              </a:tr>
              <a:tr h="378018"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porter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제기자 또는 보고자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등록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조치 내역 확인 및 종료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Closed)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처리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515622"/>
                  </a:ext>
                </a:extLst>
              </a:tr>
              <a:tr h="689592"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ssignee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조치 담당자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정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)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조치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In Progress &gt; Resolved)</a:t>
                      </a:r>
                    </a:p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다수 담당자의 순차적인 조치가 필요한 이슈의 경우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, 1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번 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ssignee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조치 완료 후 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번 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Assignee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로 변경하는 형태로 진행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1255758"/>
                  </a:ext>
                </a:extLst>
              </a:tr>
              <a:tr h="378018"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Assignee(2)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조치 담당자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정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부 전체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)</a:t>
                      </a: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조치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(In Progress &gt; Resolved)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205289"/>
                  </a:ext>
                </a:extLst>
              </a:tr>
              <a:tr h="378018">
                <a:tc>
                  <a:txBody>
                    <a:bodyPr/>
                    <a:lstStyle/>
                    <a:p>
                      <a:pPr algn="ctr" fontAlgn="ctr"/>
                      <a:r>
                        <a:rPr lang="af-ZA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Participants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</a:t>
                      </a:r>
                      <a:r>
                        <a:rPr lang="ko-KR" altLang="en-US" sz="9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연관자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</a:t>
                      </a:r>
                      <a:r>
                        <a:rPr lang="ko-KR" altLang="en-US" sz="9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연관자</a:t>
                      </a:r>
                      <a:endParaRPr lang="af-ZA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29250" marR="29250" marT="29250" marB="2925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83224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7397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hlinkClick r:id="rId2" action="ppaction://hlinksldjump"/>
          </p:cNvPr>
          <p:cNvSpPr txBox="1"/>
          <p:nvPr/>
        </p:nvSpPr>
        <p:spPr>
          <a:xfrm flipH="1">
            <a:off x="8477210" y="370568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3"/>
          <a:srcRect l="18357" t="22446" r="12427" b="64733"/>
          <a:stretch/>
        </p:blipFill>
        <p:spPr>
          <a:xfrm>
            <a:off x="425900" y="1169513"/>
            <a:ext cx="5579613" cy="704816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5755677"/>
              </p:ext>
            </p:extLst>
          </p:nvPr>
        </p:nvGraphicFramePr>
        <p:xfrm>
          <a:off x="6182224" y="1166633"/>
          <a:ext cx="3305254" cy="47102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4483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1737098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1083673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22845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Workflow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확인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  <a:tr h="38860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등록 최초 상태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O DO / Unresolved</a:t>
                      </a:r>
                      <a:endParaRPr lang="ko-KR" altLang="en-US" sz="8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667606"/>
                  </a:ext>
                </a:extLst>
              </a:tr>
              <a:tr h="38860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~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“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진행중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”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클릭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IN PROGRESS / Unresolved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3193875"/>
                  </a:ext>
                </a:extLst>
              </a:tr>
              <a:tr h="54874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5~6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“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해결 완료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”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클릭</a:t>
                      </a:r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※ “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미해결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”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버튼은 사용하지 않음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SOLVED / Unresolved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514741"/>
                  </a:ext>
                </a:extLst>
              </a:tr>
              <a:tr h="388601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7~9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porter(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제기자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)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확인 후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/>
                      </a:r>
                      <a:b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“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종료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“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클릭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6660366"/>
                  </a:ext>
                </a:extLst>
              </a:tr>
              <a:tr h="70889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종료 팝업</a:t>
                      </a:r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Resolution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연관 이슈가 있는 경우 </a:t>
                      </a: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Link</a:t>
                      </a:r>
                    </a:p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Comment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기재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CLOSED / Fixed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9896388"/>
                  </a:ext>
                </a:extLst>
              </a:tr>
              <a:tr h="118934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0~1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jecte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</a:p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가 아닌 정상인 경우</a:t>
                      </a:r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재현이 되지 않음</a:t>
                      </a:r>
                      <a:endParaRPr lang="en-US" altLang="ko-KR" sz="9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를 재현하기 위한 정보가 충분치 않음</a:t>
                      </a:r>
                      <a:br>
                        <a:rPr lang="ko-KR" altLang="en-US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</a:br>
                      <a:r>
                        <a:rPr lang="en-US" altLang="ko-KR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차후에 더 자세한 정보가 나타날 경우 </a:t>
                      </a:r>
                      <a:r>
                        <a:rPr lang="en-US" altLang="ko-KR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open </a:t>
                      </a:r>
                      <a:r>
                        <a:rPr lang="ko-KR" altLang="en-US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처리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JECTED / Unresolved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4721602"/>
                  </a:ext>
                </a:extLst>
              </a:tr>
              <a:tr h="8690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1~14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Reopened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선택</a:t>
                      </a:r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이슈 등록 초기 단계로 돌아감</a:t>
                      </a:r>
                      <a:endParaRPr lang="en-US" altLang="ko-KR" sz="9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. </a:t>
                      </a:r>
                      <a:r>
                        <a:rPr lang="ko-KR" altLang="en-US" sz="9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진행 중 클릭 후 조치 시작</a:t>
                      </a:r>
                      <a:endParaRPr lang="en-US" altLang="ko-KR" sz="900" baseline="0" dirty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TO DO / Unresolved</a:t>
                      </a:r>
                    </a:p>
                    <a:p>
                      <a:pPr latinLnBrk="1"/>
                      <a:endParaRPr lang="en-US" altLang="ko-KR" sz="800" baseline="0" smtClean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latinLnBrk="1"/>
                      <a:r>
                        <a:rPr lang="en-US" altLang="ko-KR" sz="800" baseline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IN PROGRESS / Unresolved</a:t>
                      </a:r>
                      <a:endParaRPr lang="ko-KR" altLang="en-US" sz="8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036506"/>
                  </a:ext>
                </a:extLst>
              </a:tr>
            </a:tbl>
          </a:graphicData>
        </a:graphic>
      </p:graphicFrame>
      <p:sp>
        <p:nvSpPr>
          <p:cNvPr id="8" name="직사각형 7"/>
          <p:cNvSpPr/>
          <p:nvPr/>
        </p:nvSpPr>
        <p:spPr>
          <a:xfrm>
            <a:off x="3731457" y="1594224"/>
            <a:ext cx="583071" cy="130207"/>
          </a:xfrm>
          <a:prstGeom prst="rect">
            <a:avLst/>
          </a:prstGeom>
          <a:noFill/>
          <a:ln w="19050"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11" name="직사각형 10"/>
          <p:cNvSpPr/>
          <p:nvPr/>
        </p:nvSpPr>
        <p:spPr>
          <a:xfrm>
            <a:off x="2564339" y="1594224"/>
            <a:ext cx="1361995" cy="27337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12" name="직사각형 11"/>
          <p:cNvSpPr/>
          <p:nvPr/>
        </p:nvSpPr>
        <p:spPr>
          <a:xfrm>
            <a:off x="2254777" y="1195600"/>
            <a:ext cx="397272" cy="223156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13" name="타원 12"/>
          <p:cNvSpPr/>
          <p:nvPr/>
        </p:nvSpPr>
        <p:spPr>
          <a:xfrm>
            <a:off x="2392302" y="1541767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5" name="타원 14"/>
          <p:cNvSpPr/>
          <p:nvPr/>
        </p:nvSpPr>
        <p:spPr>
          <a:xfrm>
            <a:off x="4248664" y="1473614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6" name="타원 15"/>
          <p:cNvSpPr/>
          <p:nvPr/>
        </p:nvSpPr>
        <p:spPr>
          <a:xfrm>
            <a:off x="2161908" y="1102731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3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 rotWithShape="1">
          <a:blip r:embed="rId4"/>
          <a:srcRect l="18386" t="22633" r="12390" b="64471"/>
          <a:stretch/>
        </p:blipFill>
        <p:spPr>
          <a:xfrm>
            <a:off x="425303" y="1939643"/>
            <a:ext cx="5580209" cy="70890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8" name="직사각형 17"/>
          <p:cNvSpPr/>
          <p:nvPr/>
        </p:nvSpPr>
        <p:spPr>
          <a:xfrm>
            <a:off x="2260968" y="1952792"/>
            <a:ext cx="451575" cy="223156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19" name="타원 18"/>
          <p:cNvSpPr/>
          <p:nvPr/>
        </p:nvSpPr>
        <p:spPr>
          <a:xfrm>
            <a:off x="2152621" y="1898619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5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567878" y="2343896"/>
            <a:ext cx="1427026" cy="27337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21" name="타원 20"/>
          <p:cNvSpPr/>
          <p:nvPr/>
        </p:nvSpPr>
        <p:spPr>
          <a:xfrm>
            <a:off x="2395841" y="2291438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4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 rotWithShape="1">
          <a:blip r:embed="rId5"/>
          <a:srcRect l="18433" t="22745" r="12372" b="64608"/>
          <a:stretch/>
        </p:blipFill>
        <p:spPr>
          <a:xfrm>
            <a:off x="423855" y="2720959"/>
            <a:ext cx="5577788" cy="69530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3" name="직사각형 22"/>
          <p:cNvSpPr/>
          <p:nvPr/>
        </p:nvSpPr>
        <p:spPr>
          <a:xfrm>
            <a:off x="2561220" y="3130184"/>
            <a:ext cx="1427026" cy="27337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24" name="타원 23"/>
          <p:cNvSpPr/>
          <p:nvPr/>
        </p:nvSpPr>
        <p:spPr>
          <a:xfrm>
            <a:off x="2389183" y="3077727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6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2260969" y="2739082"/>
            <a:ext cx="456216" cy="223156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26" name="타원 25"/>
          <p:cNvSpPr/>
          <p:nvPr/>
        </p:nvSpPr>
        <p:spPr>
          <a:xfrm>
            <a:off x="2143721" y="2677169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7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2718351" y="2739079"/>
            <a:ext cx="400491" cy="223156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28" name="타원 27"/>
          <p:cNvSpPr/>
          <p:nvPr/>
        </p:nvSpPr>
        <p:spPr>
          <a:xfrm>
            <a:off x="3023351" y="2671672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853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0</a:t>
            </a:r>
            <a:endParaRPr lang="ko-KR" altLang="en-US" sz="853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29" name="그림 28"/>
          <p:cNvPicPr>
            <a:picLocks noChangeAspect="1"/>
          </p:cNvPicPr>
          <p:nvPr/>
        </p:nvPicPr>
        <p:blipFill rotWithShape="1">
          <a:blip r:embed="rId6"/>
          <a:srcRect l="23513" t="29831" r="23421" b="17430"/>
          <a:stretch/>
        </p:blipFill>
        <p:spPr>
          <a:xfrm>
            <a:off x="420207" y="3511701"/>
            <a:ext cx="2439028" cy="165307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0" name="직사각형 29"/>
          <p:cNvSpPr/>
          <p:nvPr/>
        </p:nvSpPr>
        <p:spPr>
          <a:xfrm>
            <a:off x="2712546" y="1952400"/>
            <a:ext cx="357927" cy="223156"/>
          </a:xfrm>
          <a:prstGeom prst="rect">
            <a:avLst/>
          </a:prstGeom>
          <a:noFill/>
          <a:ln w="19050"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31" name="타원 30"/>
          <p:cNvSpPr/>
          <p:nvPr/>
        </p:nvSpPr>
        <p:spPr>
          <a:xfrm>
            <a:off x="2993090" y="1898227"/>
            <a:ext cx="185738" cy="18573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X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2" name="타원 31"/>
          <p:cNvSpPr/>
          <p:nvPr/>
        </p:nvSpPr>
        <p:spPr>
          <a:xfrm>
            <a:off x="282904" y="3487280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8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34" name="그림 33"/>
          <p:cNvPicPr>
            <a:picLocks noChangeAspect="1"/>
          </p:cNvPicPr>
          <p:nvPr/>
        </p:nvPicPr>
        <p:blipFill rotWithShape="1">
          <a:blip r:embed="rId7"/>
          <a:srcRect l="18519" t="23096" r="30610" b="64191"/>
          <a:stretch/>
        </p:blipFill>
        <p:spPr>
          <a:xfrm>
            <a:off x="1903646" y="4369989"/>
            <a:ext cx="4097997" cy="694204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6" name="직사각형 35"/>
          <p:cNvSpPr/>
          <p:nvPr/>
        </p:nvSpPr>
        <p:spPr>
          <a:xfrm>
            <a:off x="3994717" y="4773513"/>
            <a:ext cx="1427026" cy="27337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38" name="타원 37"/>
          <p:cNvSpPr/>
          <p:nvPr/>
        </p:nvSpPr>
        <p:spPr>
          <a:xfrm>
            <a:off x="3870094" y="4721919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853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1</a:t>
            </a:r>
            <a:endParaRPr lang="ko-KR" altLang="en-US" sz="853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3745960" y="4372182"/>
            <a:ext cx="456216" cy="223156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35" name="타원 34"/>
          <p:cNvSpPr/>
          <p:nvPr/>
        </p:nvSpPr>
        <p:spPr>
          <a:xfrm>
            <a:off x="3667847" y="4283311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853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2</a:t>
            </a:r>
            <a:endParaRPr lang="ko-KR" altLang="en-US" sz="853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40" name="그림 39"/>
          <p:cNvPicPr>
            <a:picLocks noChangeAspect="1"/>
          </p:cNvPicPr>
          <p:nvPr/>
        </p:nvPicPr>
        <p:blipFill rotWithShape="1">
          <a:blip r:embed="rId8"/>
          <a:srcRect l="18351" t="22760" r="30805" b="64069"/>
          <a:stretch/>
        </p:blipFill>
        <p:spPr>
          <a:xfrm>
            <a:off x="1899693" y="5160663"/>
            <a:ext cx="4095914" cy="71917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1" name="직사각형 40"/>
          <p:cNvSpPr/>
          <p:nvPr/>
        </p:nvSpPr>
        <p:spPr>
          <a:xfrm>
            <a:off x="3969952" y="5580852"/>
            <a:ext cx="1427026" cy="27337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42" name="타원 41"/>
          <p:cNvSpPr/>
          <p:nvPr/>
        </p:nvSpPr>
        <p:spPr>
          <a:xfrm>
            <a:off x="3845329" y="5529258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853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3</a:t>
            </a:r>
            <a:endParaRPr lang="ko-KR" altLang="en-US" sz="853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3745960" y="5179521"/>
            <a:ext cx="369675" cy="223156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44" name="타원 43"/>
          <p:cNvSpPr/>
          <p:nvPr/>
        </p:nvSpPr>
        <p:spPr>
          <a:xfrm>
            <a:off x="3635342" y="5117739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853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4</a:t>
            </a:r>
            <a:endParaRPr lang="ko-KR" altLang="en-US" sz="853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 rotWithShape="1">
          <a:blip r:embed="rId9"/>
          <a:srcRect l="3641" t="22924" r="45422" b="64150"/>
          <a:stretch/>
        </p:blipFill>
        <p:spPr>
          <a:xfrm>
            <a:off x="1899693" y="3570521"/>
            <a:ext cx="4103344" cy="705803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8" name="직사각형 47"/>
          <p:cNvSpPr/>
          <p:nvPr/>
        </p:nvSpPr>
        <p:spPr>
          <a:xfrm>
            <a:off x="4348325" y="3969635"/>
            <a:ext cx="1427026" cy="27337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49" name="타원 48"/>
          <p:cNvSpPr/>
          <p:nvPr/>
        </p:nvSpPr>
        <p:spPr>
          <a:xfrm>
            <a:off x="4176289" y="3917178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9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3750913" y="3582178"/>
            <a:ext cx="456216" cy="223156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51" name="타원 50"/>
          <p:cNvSpPr/>
          <p:nvPr/>
        </p:nvSpPr>
        <p:spPr>
          <a:xfrm>
            <a:off x="3672800" y="3493307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853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2</a:t>
            </a:r>
            <a:endParaRPr lang="ko-KR" altLang="en-US" sz="853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3" name="TextBox 52">
            <a:hlinkClick r:id="rId10" action="ppaction://hlinksldjump"/>
          </p:cNvPr>
          <p:cNvSpPr txBox="1"/>
          <p:nvPr/>
        </p:nvSpPr>
        <p:spPr>
          <a:xfrm>
            <a:off x="8571317" y="553829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이슈</a:t>
            </a:r>
            <a:r>
              <a:rPr lang="en-US" altLang="ko-KR" sz="813" dirty="0"/>
              <a:t>Ticket </a:t>
            </a:r>
            <a:r>
              <a:rPr lang="ko-KR" altLang="en-US" sz="813" dirty="0"/>
              <a:t>화면</a:t>
            </a:r>
            <a:endParaRPr lang="en-US" altLang="ko-KR" sz="813" dirty="0"/>
          </a:p>
        </p:txBody>
      </p:sp>
      <p:sp>
        <p:nvSpPr>
          <p:cNvPr id="45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1800" dirty="0"/>
              <a:t>이슈 관리 </a:t>
            </a:r>
            <a:r>
              <a:rPr lang="af-ZA" altLang="ko-KR" sz="1800" dirty="0"/>
              <a:t>Workflow  </a:t>
            </a:r>
            <a:r>
              <a:rPr lang="af-ZA" altLang="ko-KR" sz="1800" dirty="0" smtClean="0"/>
              <a:t>&lt;2/2</a:t>
            </a:r>
            <a:r>
              <a:rPr lang="af-ZA" altLang="ko-KR" sz="1800" dirty="0"/>
              <a:t>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85028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/>
          <a:srcRect l="-1" t="10772" r="44951" b="63846"/>
          <a:stretch/>
        </p:blipFill>
        <p:spPr>
          <a:xfrm>
            <a:off x="427123" y="3828621"/>
            <a:ext cx="5578390" cy="1737232"/>
          </a:xfrm>
          <a:prstGeom prst="rect">
            <a:avLst/>
          </a:prstGeom>
        </p:spPr>
      </p:pic>
      <p:sp>
        <p:nvSpPr>
          <p:cNvPr id="4" name="직사각형 3"/>
          <p:cNvSpPr/>
          <p:nvPr/>
        </p:nvSpPr>
        <p:spPr>
          <a:xfrm>
            <a:off x="4070307" y="3809333"/>
            <a:ext cx="515088" cy="3028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3"/>
          <a:srcRect t="10718" r="44807" b="63556"/>
          <a:stretch/>
        </p:blipFill>
        <p:spPr>
          <a:xfrm>
            <a:off x="419132" y="1170066"/>
            <a:ext cx="5585020" cy="1717564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4062568" y="1145823"/>
            <a:ext cx="491871" cy="30285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/>
          </a:p>
        </p:txBody>
      </p:sp>
      <p:sp>
        <p:nvSpPr>
          <p:cNvPr id="7" name="TextBox 6"/>
          <p:cNvSpPr txBox="1"/>
          <p:nvPr/>
        </p:nvSpPr>
        <p:spPr>
          <a:xfrm>
            <a:off x="426900" y="3314676"/>
            <a:ext cx="415498" cy="2423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75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또는</a:t>
            </a:r>
            <a:endParaRPr lang="en-US" altLang="ko-KR" sz="975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0" name="타원 9"/>
          <p:cNvSpPr/>
          <p:nvPr/>
        </p:nvSpPr>
        <p:spPr>
          <a:xfrm>
            <a:off x="3945975" y="1061720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1" name="타원 10"/>
          <p:cNvSpPr/>
          <p:nvPr/>
        </p:nvSpPr>
        <p:spPr>
          <a:xfrm>
            <a:off x="3945975" y="3748700"/>
            <a:ext cx="185738" cy="185738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94" b="1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1</a:t>
            </a:r>
            <a:endParaRPr lang="ko-KR" altLang="en-US" sz="894" b="1" dirty="0"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7621170"/>
              </p:ext>
            </p:extLst>
          </p:nvPr>
        </p:nvGraphicFramePr>
        <p:xfrm>
          <a:off x="6182223" y="1166626"/>
          <a:ext cx="3304578" cy="5968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2056">
                  <a:extLst>
                    <a:ext uri="{9D8B030D-6E8A-4147-A177-3AD203B41FA5}">
                      <a16:colId xmlns:a16="http://schemas.microsoft.com/office/drawing/2014/main" val="1012509587"/>
                    </a:ext>
                  </a:extLst>
                </a:gridCol>
                <a:gridCol w="2245536">
                  <a:extLst>
                    <a:ext uri="{9D8B030D-6E8A-4147-A177-3AD203B41FA5}">
                      <a16:colId xmlns:a16="http://schemas.microsoft.com/office/drawing/2014/main" val="2171240055"/>
                    </a:ext>
                  </a:extLst>
                </a:gridCol>
                <a:gridCol w="766986">
                  <a:extLst>
                    <a:ext uri="{9D8B030D-6E8A-4147-A177-3AD203B41FA5}">
                      <a16:colId xmlns:a16="http://schemas.microsoft.com/office/drawing/2014/main" val="1084241861"/>
                    </a:ext>
                  </a:extLst>
                </a:gridCol>
              </a:tblGrid>
              <a:tr h="5968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1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Create </a:t>
                      </a:r>
                      <a:r>
                        <a:rPr lang="ko-KR" altLang="en-US" sz="900" baseline="0" dirty="0" smtClean="0"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버튼 클릭</a:t>
                      </a:r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aseline="0" dirty="0"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marL="74295" marR="74295" marT="29250" marB="2925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84455"/>
                  </a:ext>
                </a:extLst>
              </a:tr>
            </a:tbl>
          </a:graphicData>
        </a:graphic>
      </p:graphicFrame>
      <p:sp>
        <p:nvSpPr>
          <p:cNvPr id="15" name="TextBox 14">
            <a:hlinkClick r:id="rId4" action="ppaction://hlinksldjump"/>
          </p:cNvPr>
          <p:cNvSpPr txBox="1"/>
          <p:nvPr/>
        </p:nvSpPr>
        <p:spPr>
          <a:xfrm flipH="1">
            <a:off x="8477210" y="370573"/>
            <a:ext cx="1010267" cy="184170"/>
          </a:xfrm>
          <a:prstGeom prst="homePlat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29250" tIns="29250" rIns="29250" bIns="29250" rtlCol="0" anchor="ctr">
            <a:spAutoFit/>
          </a:bodyPr>
          <a:lstStyle>
            <a:defPPr>
              <a:defRPr lang="ko-KR"/>
            </a:defPPr>
            <a:lvl1pPr algn="ctr">
              <a:defRPr sz="1000">
                <a:solidFill>
                  <a:schemeClr val="dk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 sz="813" dirty="0"/>
              <a:t>목차로 돌아가기</a:t>
            </a:r>
            <a:endParaRPr lang="en-US" altLang="ko-KR" sz="813" dirty="0"/>
          </a:p>
        </p:txBody>
      </p:sp>
      <p:sp>
        <p:nvSpPr>
          <p:cNvPr id="13" name="제목 1">
            <a:extLst>
              <a:ext uri="{FF2B5EF4-FFF2-40B4-BE49-F238E27FC236}">
                <a16:creationId xmlns:a16="http://schemas.microsoft.com/office/drawing/2014/main" id="{DA1E095F-4AA4-4B19-B748-E2482953A51D}"/>
              </a:ext>
            </a:extLst>
          </p:cNvPr>
          <p:cNvSpPr txBox="1">
            <a:spLocks/>
          </p:cNvSpPr>
          <p:nvPr/>
        </p:nvSpPr>
        <p:spPr>
          <a:xfrm>
            <a:off x="531814" y="360364"/>
            <a:ext cx="5500686" cy="307777"/>
          </a:xfrm>
          <a:prstGeom prst="rect">
            <a:avLst/>
          </a:prstGeom>
        </p:spPr>
        <p:txBody>
          <a:bodyPr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0">
                <a:solidFill>
                  <a:srgbClr val="000000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rgbClr val="000000"/>
                </a:solidFill>
                <a:latin typeface="Arial" charset="0"/>
                <a:ea typeface="윤고딕150" pitchFamily="18" charset="-127"/>
              </a:defRPr>
            </a:lvl9pPr>
          </a:lstStyle>
          <a:p>
            <a:r>
              <a:rPr lang="ko-KR" altLang="en-US" sz="1800" dirty="0"/>
              <a:t>이슈 등록 </a:t>
            </a:r>
            <a:r>
              <a:rPr lang="en-US" altLang="ko-KR" sz="1800" dirty="0"/>
              <a:t>(Ticket </a:t>
            </a:r>
            <a:r>
              <a:rPr lang="ko-KR" altLang="en-US" sz="1800" dirty="0"/>
              <a:t>생성</a:t>
            </a:r>
            <a:r>
              <a:rPr lang="en-US" altLang="ko-KR" sz="1800" dirty="0"/>
              <a:t>)  &lt;1/4&gt;</a:t>
            </a:r>
            <a:endParaRPr lang="ko-KR" altLang="en-US" sz="1800" b="1" kern="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30906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테마_두산">
  <a:themeElements>
    <a:clrScheme name="Default Design 16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5F5F5F"/>
      </a:accent2>
      <a:accent3>
        <a:srgbClr val="FFFFFF"/>
      </a:accent3>
      <a:accent4>
        <a:srgbClr val="000000"/>
      </a:accent4>
      <a:accent5>
        <a:srgbClr val="FFFFFF"/>
      </a:accent5>
      <a:accent6>
        <a:srgbClr val="555555"/>
      </a:accent6>
      <a:hlink>
        <a:srgbClr val="B2B2B2"/>
      </a:hlink>
      <a:folHlink>
        <a:srgbClr val="B2B2B2"/>
      </a:folHlink>
    </a:clrScheme>
    <a:fontScheme name="Default Design">
      <a:majorFont>
        <a:latin typeface="Arial"/>
        <a:ea typeface="윤고딕150"/>
        <a:cs typeface=""/>
      </a:majorFont>
      <a:minorFont>
        <a:latin typeface="Arial"/>
        <a:ea typeface="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104775" indent="-103188" algn="ctr" defTabSz="936625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defRPr sz="1000" b="1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104775" marR="0" indent="-103188" algn="r" defTabSz="936625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윤고딕130" pitchFamily="18" charset="-127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1200" smtClean="0">
            <a:latin typeface="Noto Sans CJK KR Regular" panose="020B0500000000000000" pitchFamily="34" charset="-127"/>
            <a:ea typeface="Noto Sans CJK KR Regular" panose="020B0500000000000000" pitchFamily="34" charset="-127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103991"/>
        </a:accent1>
        <a:accent2>
          <a:srgbClr val="333399"/>
        </a:accent2>
        <a:accent3>
          <a:srgbClr val="FFFFFF"/>
        </a:accent3>
        <a:accent4>
          <a:srgbClr val="2A2A2A"/>
        </a:accent4>
        <a:accent5>
          <a:srgbClr val="AAAEC7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F7EDD4"/>
        </a:accent1>
        <a:accent2>
          <a:srgbClr val="103991"/>
        </a:accent2>
        <a:accent3>
          <a:srgbClr val="FFFFFF"/>
        </a:accent3>
        <a:accent4>
          <a:srgbClr val="2A2A2A"/>
        </a:accent4>
        <a:accent5>
          <a:srgbClr val="FAF4E6"/>
        </a:accent5>
        <a:accent6>
          <a:srgbClr val="0D3383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B2B2B2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테마_두산" id="{B36E2139-490E-47F3-A571-A62A63242860}" vid="{4AE172AB-085B-4D66-8891-9E89DC62EA4F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A40EE7251ECB489758916C8121FA78" ma:contentTypeVersion="" ma:contentTypeDescription="Create a new document." ma:contentTypeScope="" ma:versionID="6b907426bb483b37459430360291440f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fc1958f689284e262d1fa84b900a385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B8998C23-84B0-4625-BF13-380F44267D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A75598-D6D5-4462-A413-82FE53DFED2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3C7C83-206F-4DE0-B620-A11E31394B3A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테마_두산</Template>
  <TotalTime>7520</TotalTime>
  <Words>2198</Words>
  <Application>Microsoft Office PowerPoint</Application>
  <PresentationFormat>A4 용지(210x297mm)</PresentationFormat>
  <Paragraphs>772</Paragraphs>
  <Slides>31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1</vt:i4>
      </vt:variant>
    </vt:vector>
  </HeadingPairs>
  <TitlesOfParts>
    <vt:vector size="42" baseType="lpstr">
      <vt:lpstr>Noto Sans</vt:lpstr>
      <vt:lpstr>Noto Sans CJK KR Medium</vt:lpstr>
      <vt:lpstr>Noto Sans CJK KR Regular</vt:lpstr>
      <vt:lpstr>Noto Sans KR Regular</vt:lpstr>
      <vt:lpstr>굴림</vt:lpstr>
      <vt:lpstr>맑은 고딕</vt:lpstr>
      <vt:lpstr>윤고딕130</vt:lpstr>
      <vt:lpstr>윤고딕150</vt:lpstr>
      <vt:lpstr>Arial</vt:lpstr>
      <vt:lpstr>테마_두산</vt:lpstr>
      <vt:lpstr>think-cell Slide</vt:lpstr>
      <vt:lpstr>JIRA 사용 가이드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Doos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문희(Hee Moon) 부장 베스핀글로벌</dc:creator>
  <cp:lastModifiedBy>문희(Hee Moon) 부장 베스핀글로벌</cp:lastModifiedBy>
  <cp:revision>196</cp:revision>
  <dcterms:created xsi:type="dcterms:W3CDTF">2020-01-08T01:35:12Z</dcterms:created>
  <dcterms:modified xsi:type="dcterms:W3CDTF">2020-02-17T07:0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A40EE7251ECB489758916C8121FA78</vt:lpwstr>
  </property>
</Properties>
</file>